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7"/>
  </p:notesMasterIdLst>
  <p:sldIdLst>
    <p:sldId id="1787" r:id="rId3"/>
    <p:sldId id="1788" r:id="rId4"/>
    <p:sldId id="1790" r:id="rId5"/>
    <p:sldId id="950" r:id="rId6"/>
    <p:sldId id="1804" r:id="rId7"/>
    <p:sldId id="535" r:id="rId8"/>
    <p:sldId id="548" r:id="rId9"/>
    <p:sldId id="1800" r:id="rId10"/>
    <p:sldId id="1801" r:id="rId11"/>
    <p:sldId id="272" r:id="rId12"/>
    <p:sldId id="1802" r:id="rId13"/>
    <p:sldId id="1791" r:id="rId14"/>
    <p:sldId id="1799" r:id="rId15"/>
    <p:sldId id="179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90D99E-890F-4D86-AB0D-8FF74A1538B3}">
          <p14:sldIdLst>
            <p14:sldId id="1787"/>
            <p14:sldId id="1788"/>
            <p14:sldId id="1790"/>
            <p14:sldId id="950"/>
            <p14:sldId id="1804"/>
            <p14:sldId id="535"/>
            <p14:sldId id="548"/>
            <p14:sldId id="1800"/>
            <p14:sldId id="1801"/>
            <p14:sldId id="272"/>
            <p14:sldId id="1802"/>
          </p14:sldIdLst>
        </p14:section>
        <p14:section name="Appendix" id="{21D8515E-A8A5-4713-BA44-4393405EDF84}">
          <p14:sldIdLst>
            <p14:sldId id="1791"/>
            <p14:sldId id="1799"/>
            <p14:sldId id="179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677BE1-EAFB-6605-91F4-13D1ABFFB97F}" name="Ogundairo, Sunmisola" initials="OS" userId="S::sogundairo@deloitte.com::ca9d8627-40bc-4f68-b59e-d13554e1af7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DB7F11-A6B6-4089-9396-A9E55F1D6E6F}" v="152" dt="2023-03-31T13:05:33.5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104" d="100"/>
          <a:sy n="104" d="100"/>
        </p:scale>
        <p:origin x="81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gundairo, Sunmisola" userId="ca9d8627-40bc-4f68-b59e-d13554e1af79" providerId="ADAL" clId="{54C62467-273D-4DB3-B748-833FCF7E9C12}"/>
    <pc:docChg chg="undo custSel addSld delSld modSld sldOrd">
      <pc:chgData name="Ogundairo, Sunmisola" userId="ca9d8627-40bc-4f68-b59e-d13554e1af79" providerId="ADAL" clId="{54C62467-273D-4DB3-B748-833FCF7E9C12}" dt="2023-03-27T23:43:17.060" v="3144" actId="1076"/>
      <pc:docMkLst>
        <pc:docMk/>
      </pc:docMkLst>
      <pc:sldChg chg="del">
        <pc:chgData name="Ogundairo, Sunmisola" userId="ca9d8627-40bc-4f68-b59e-d13554e1af79" providerId="ADAL" clId="{54C62467-273D-4DB3-B748-833FCF7E9C12}" dt="2023-03-27T13:53:53.977" v="0" actId="2696"/>
        <pc:sldMkLst>
          <pc:docMk/>
          <pc:sldMk cId="383406959" sldId="256"/>
        </pc:sldMkLst>
      </pc:sldChg>
      <pc:sldChg chg="addSp delSp modSp add del mod">
        <pc:chgData name="Ogundairo, Sunmisola" userId="ca9d8627-40bc-4f68-b59e-d13554e1af79" providerId="ADAL" clId="{54C62467-273D-4DB3-B748-833FCF7E9C12}" dt="2023-03-27T14:25:55.124" v="493" actId="47"/>
        <pc:sldMkLst>
          <pc:docMk/>
          <pc:sldMk cId="3767364715" sldId="698"/>
        </pc:sldMkLst>
        <pc:spChg chg="del">
          <ac:chgData name="Ogundairo, Sunmisola" userId="ca9d8627-40bc-4f68-b59e-d13554e1af79" providerId="ADAL" clId="{54C62467-273D-4DB3-B748-833FCF7E9C12}" dt="2023-03-27T14:19:29.166" v="326" actId="478"/>
          <ac:spMkLst>
            <pc:docMk/>
            <pc:sldMk cId="3767364715" sldId="698"/>
            <ac:spMk id="2" creationId="{00000000-0000-0000-0000-000000000000}"/>
          </ac:spMkLst>
        </pc:spChg>
        <pc:spChg chg="mod">
          <ac:chgData name="Ogundairo, Sunmisola" userId="ca9d8627-40bc-4f68-b59e-d13554e1af79" providerId="ADAL" clId="{54C62467-273D-4DB3-B748-833FCF7E9C12}" dt="2023-03-27T14:09:55.236" v="166" actId="20577"/>
          <ac:spMkLst>
            <pc:docMk/>
            <pc:sldMk cId="3767364715" sldId="698"/>
            <ac:spMk id="3" creationId="{00000000-0000-0000-0000-000000000000}"/>
          </ac:spMkLst>
        </pc:spChg>
        <pc:spChg chg="add del mod">
          <ac:chgData name="Ogundairo, Sunmisola" userId="ca9d8627-40bc-4f68-b59e-d13554e1af79" providerId="ADAL" clId="{54C62467-273D-4DB3-B748-833FCF7E9C12}" dt="2023-03-27T14:19:32.636" v="327" actId="478"/>
          <ac:spMkLst>
            <pc:docMk/>
            <pc:sldMk cId="3767364715" sldId="698"/>
            <ac:spMk id="5" creationId="{B356D9C6-C4FD-4003-8CBB-C0ED5969F671}"/>
          </ac:spMkLst>
        </pc:spChg>
        <pc:spChg chg="add mod">
          <ac:chgData name="Ogundairo, Sunmisola" userId="ca9d8627-40bc-4f68-b59e-d13554e1af79" providerId="ADAL" clId="{54C62467-273D-4DB3-B748-833FCF7E9C12}" dt="2023-03-27T14:21:15.685" v="330" actId="571"/>
          <ac:spMkLst>
            <pc:docMk/>
            <pc:sldMk cId="3767364715" sldId="698"/>
            <ac:spMk id="18" creationId="{9EC6A918-DDF5-426D-820B-4AE907F1E14D}"/>
          </ac:spMkLst>
        </pc:spChg>
        <pc:spChg chg="add mod">
          <ac:chgData name="Ogundairo, Sunmisola" userId="ca9d8627-40bc-4f68-b59e-d13554e1af79" providerId="ADAL" clId="{54C62467-273D-4DB3-B748-833FCF7E9C12}" dt="2023-03-27T14:21:15.685" v="330" actId="571"/>
          <ac:spMkLst>
            <pc:docMk/>
            <pc:sldMk cId="3767364715" sldId="698"/>
            <ac:spMk id="19" creationId="{BF29A1A5-9403-4F3E-94A1-DBC7515967E2}"/>
          </ac:spMkLst>
        </pc:spChg>
        <pc:spChg chg="add mod">
          <ac:chgData name="Ogundairo, Sunmisola" userId="ca9d8627-40bc-4f68-b59e-d13554e1af79" providerId="ADAL" clId="{54C62467-273D-4DB3-B748-833FCF7E9C12}" dt="2023-03-27T14:21:15.685" v="330" actId="571"/>
          <ac:spMkLst>
            <pc:docMk/>
            <pc:sldMk cId="3767364715" sldId="698"/>
            <ac:spMk id="20" creationId="{D60251AE-FDD9-4D6A-9799-47758E9AC1D8}"/>
          </ac:spMkLst>
        </pc:spChg>
        <pc:spChg chg="add mod">
          <ac:chgData name="Ogundairo, Sunmisola" userId="ca9d8627-40bc-4f68-b59e-d13554e1af79" providerId="ADAL" clId="{54C62467-273D-4DB3-B748-833FCF7E9C12}" dt="2023-03-27T14:21:15.685" v="330" actId="571"/>
          <ac:spMkLst>
            <pc:docMk/>
            <pc:sldMk cId="3767364715" sldId="698"/>
            <ac:spMk id="21" creationId="{11685B20-D20E-4976-B5E3-6C8B804E6B0C}"/>
          </ac:spMkLst>
        </pc:spChg>
        <pc:spChg chg="add mod">
          <ac:chgData name="Ogundairo, Sunmisola" userId="ca9d8627-40bc-4f68-b59e-d13554e1af79" providerId="ADAL" clId="{54C62467-273D-4DB3-B748-833FCF7E9C12}" dt="2023-03-27T14:21:15.685" v="330" actId="571"/>
          <ac:spMkLst>
            <pc:docMk/>
            <pc:sldMk cId="3767364715" sldId="698"/>
            <ac:spMk id="22" creationId="{4C98F3C6-18AF-40E6-9AAA-7767FDA39FBF}"/>
          </ac:spMkLst>
        </pc:spChg>
        <pc:spChg chg="add mod">
          <ac:chgData name="Ogundairo, Sunmisola" userId="ca9d8627-40bc-4f68-b59e-d13554e1af79" providerId="ADAL" clId="{54C62467-273D-4DB3-B748-833FCF7E9C12}" dt="2023-03-27T14:21:15.685" v="330" actId="571"/>
          <ac:spMkLst>
            <pc:docMk/>
            <pc:sldMk cId="3767364715" sldId="698"/>
            <ac:spMk id="23" creationId="{D710A8C5-BA97-453B-B123-552302D43B2D}"/>
          </ac:spMkLst>
        </pc:spChg>
        <pc:spChg chg="mod">
          <ac:chgData name="Ogundairo, Sunmisola" userId="ca9d8627-40bc-4f68-b59e-d13554e1af79" providerId="ADAL" clId="{54C62467-273D-4DB3-B748-833FCF7E9C12}" dt="2023-03-27T14:21:24.564" v="332" actId="1076"/>
          <ac:spMkLst>
            <pc:docMk/>
            <pc:sldMk cId="3767364715" sldId="698"/>
            <ac:spMk id="50" creationId="{00000000-0000-0000-0000-000000000000}"/>
          </ac:spMkLst>
        </pc:spChg>
        <pc:spChg chg="mod">
          <ac:chgData name="Ogundairo, Sunmisola" userId="ca9d8627-40bc-4f68-b59e-d13554e1af79" providerId="ADAL" clId="{54C62467-273D-4DB3-B748-833FCF7E9C12}" dt="2023-03-27T14:10:14.408" v="167" actId="207"/>
          <ac:spMkLst>
            <pc:docMk/>
            <pc:sldMk cId="3767364715" sldId="698"/>
            <ac:spMk id="53" creationId="{00000000-0000-0000-0000-000000000000}"/>
          </ac:spMkLst>
        </pc:spChg>
        <pc:spChg chg="mod">
          <ac:chgData name="Ogundairo, Sunmisola" userId="ca9d8627-40bc-4f68-b59e-d13554e1af79" providerId="ADAL" clId="{54C62467-273D-4DB3-B748-833FCF7E9C12}" dt="2023-03-27T14:22:04.065" v="335" actId="1076"/>
          <ac:spMkLst>
            <pc:docMk/>
            <pc:sldMk cId="3767364715" sldId="698"/>
            <ac:spMk id="55" creationId="{00000000-0000-0000-0000-000000000000}"/>
          </ac:spMkLst>
        </pc:spChg>
        <pc:spChg chg="mod">
          <ac:chgData name="Ogundairo, Sunmisola" userId="ca9d8627-40bc-4f68-b59e-d13554e1af79" providerId="ADAL" clId="{54C62467-273D-4DB3-B748-833FCF7E9C12}" dt="2023-03-27T14:10:23.198" v="168" actId="207"/>
          <ac:spMkLst>
            <pc:docMk/>
            <pc:sldMk cId="3767364715" sldId="698"/>
            <ac:spMk id="56" creationId="{00000000-0000-0000-0000-000000000000}"/>
          </ac:spMkLst>
        </pc:spChg>
        <pc:spChg chg="mod">
          <ac:chgData name="Ogundairo, Sunmisola" userId="ca9d8627-40bc-4f68-b59e-d13554e1af79" providerId="ADAL" clId="{54C62467-273D-4DB3-B748-833FCF7E9C12}" dt="2023-03-27T14:10:40.768" v="170" actId="207"/>
          <ac:spMkLst>
            <pc:docMk/>
            <pc:sldMk cId="3767364715" sldId="698"/>
            <ac:spMk id="59" creationId="{00000000-0000-0000-0000-000000000000}"/>
          </ac:spMkLst>
        </pc:spChg>
        <pc:spChg chg="mod">
          <ac:chgData name="Ogundairo, Sunmisola" userId="ca9d8627-40bc-4f68-b59e-d13554e1af79" providerId="ADAL" clId="{54C62467-273D-4DB3-B748-833FCF7E9C12}" dt="2023-03-27T14:10:26.847" v="169" actId="207"/>
          <ac:spMkLst>
            <pc:docMk/>
            <pc:sldMk cId="3767364715" sldId="698"/>
            <ac:spMk id="61" creationId="{00000000-0000-0000-0000-000000000000}"/>
          </ac:spMkLst>
        </pc:spChg>
        <pc:spChg chg="mod">
          <ac:chgData name="Ogundairo, Sunmisola" userId="ca9d8627-40bc-4f68-b59e-d13554e1af79" providerId="ADAL" clId="{54C62467-273D-4DB3-B748-833FCF7E9C12}" dt="2023-03-27T14:21:33.819" v="334" actId="1076"/>
          <ac:spMkLst>
            <pc:docMk/>
            <pc:sldMk cId="3767364715" sldId="698"/>
            <ac:spMk id="65" creationId="{00000000-0000-0000-0000-000000000000}"/>
          </ac:spMkLst>
        </pc:spChg>
        <pc:spChg chg="mod">
          <ac:chgData name="Ogundairo, Sunmisola" userId="ca9d8627-40bc-4f68-b59e-d13554e1af79" providerId="ADAL" clId="{54C62467-273D-4DB3-B748-833FCF7E9C12}" dt="2023-03-27T14:22:09.208" v="336" actId="1076"/>
          <ac:spMkLst>
            <pc:docMk/>
            <pc:sldMk cId="3767364715" sldId="698"/>
            <ac:spMk id="67" creationId="{00000000-0000-0000-0000-000000000000}"/>
          </ac:spMkLst>
        </pc:spChg>
        <pc:spChg chg="mod">
          <ac:chgData name="Ogundairo, Sunmisola" userId="ca9d8627-40bc-4f68-b59e-d13554e1af79" providerId="ADAL" clId="{54C62467-273D-4DB3-B748-833FCF7E9C12}" dt="2023-03-27T14:20:33.931" v="328" actId="255"/>
          <ac:spMkLst>
            <pc:docMk/>
            <pc:sldMk cId="3767364715" sldId="698"/>
            <ac:spMk id="69" creationId="{00000000-0000-0000-0000-000000000000}"/>
          </ac:spMkLst>
        </pc:spChg>
        <pc:spChg chg="mod">
          <ac:chgData name="Ogundairo, Sunmisola" userId="ca9d8627-40bc-4f68-b59e-d13554e1af79" providerId="ADAL" clId="{54C62467-273D-4DB3-B748-833FCF7E9C12}" dt="2023-03-27T14:22:32.991" v="338" actId="1076"/>
          <ac:spMkLst>
            <pc:docMk/>
            <pc:sldMk cId="3767364715" sldId="698"/>
            <ac:spMk id="71" creationId="{00000000-0000-0000-0000-000000000000}"/>
          </ac:spMkLst>
        </pc:spChg>
      </pc:sldChg>
      <pc:sldChg chg="delSp modSp mod setBg">
        <pc:chgData name="Ogundairo, Sunmisola" userId="ca9d8627-40bc-4f68-b59e-d13554e1af79" providerId="ADAL" clId="{54C62467-273D-4DB3-B748-833FCF7E9C12}" dt="2023-03-27T23:22:47.851" v="2688"/>
        <pc:sldMkLst>
          <pc:docMk/>
          <pc:sldMk cId="1395691542" sldId="1787"/>
        </pc:sldMkLst>
        <pc:spChg chg="mod">
          <ac:chgData name="Ogundairo, Sunmisola" userId="ca9d8627-40bc-4f68-b59e-d13554e1af79" providerId="ADAL" clId="{54C62467-273D-4DB3-B748-833FCF7E9C12}" dt="2023-03-27T13:57:49.136" v="112" actId="1076"/>
          <ac:spMkLst>
            <pc:docMk/>
            <pc:sldMk cId="1395691542" sldId="1787"/>
            <ac:spMk id="5" creationId="{5B17207E-7FD3-4B75-ADFE-CC565F8DB8A1}"/>
          </ac:spMkLst>
        </pc:spChg>
        <pc:spChg chg="mod">
          <ac:chgData name="Ogundairo, Sunmisola" userId="ca9d8627-40bc-4f68-b59e-d13554e1af79" providerId="ADAL" clId="{54C62467-273D-4DB3-B748-833FCF7E9C12}" dt="2023-03-27T13:58:39.110" v="113" actId="113"/>
          <ac:spMkLst>
            <pc:docMk/>
            <pc:sldMk cId="1395691542" sldId="1787"/>
            <ac:spMk id="12" creationId="{C2F03B24-5911-487D-A541-83315BB92292}"/>
          </ac:spMkLst>
        </pc:spChg>
        <pc:spChg chg="del">
          <ac:chgData name="Ogundairo, Sunmisola" userId="ca9d8627-40bc-4f68-b59e-d13554e1af79" providerId="ADAL" clId="{54C62467-273D-4DB3-B748-833FCF7E9C12}" dt="2023-03-27T13:54:14.085" v="32" actId="478"/>
          <ac:spMkLst>
            <pc:docMk/>
            <pc:sldMk cId="1395691542" sldId="1787"/>
            <ac:spMk id="14" creationId="{C971B707-11C3-4CCF-8DBD-4A068E5655C1}"/>
          </ac:spMkLst>
        </pc:spChg>
      </pc:sldChg>
      <pc:sldChg chg="addSp delSp modSp add mod setBg addCm delCm">
        <pc:chgData name="Ogundairo, Sunmisola" userId="ca9d8627-40bc-4f68-b59e-d13554e1af79" providerId="ADAL" clId="{54C62467-273D-4DB3-B748-833FCF7E9C12}" dt="2023-03-27T23:40:49.810" v="3109" actId="20577"/>
        <pc:sldMkLst>
          <pc:docMk/>
          <pc:sldMk cId="3880333960" sldId="1788"/>
        </pc:sldMkLst>
        <pc:spChg chg="mod">
          <ac:chgData name="Ogundairo, Sunmisola" userId="ca9d8627-40bc-4f68-b59e-d13554e1af79" providerId="ADAL" clId="{54C62467-273D-4DB3-B748-833FCF7E9C12}" dt="2023-03-27T23:23:35.932" v="2695" actId="207"/>
          <ac:spMkLst>
            <pc:docMk/>
            <pc:sldMk cId="3880333960" sldId="1788"/>
            <ac:spMk id="3" creationId="{00000000-0000-0000-0000-000000000000}"/>
          </ac:spMkLst>
        </pc:spChg>
        <pc:spChg chg="add mod">
          <ac:chgData name="Ogundairo, Sunmisola" userId="ca9d8627-40bc-4f68-b59e-d13554e1af79" providerId="ADAL" clId="{54C62467-273D-4DB3-B748-833FCF7E9C12}" dt="2023-03-27T23:23:35.932" v="2695" actId="207"/>
          <ac:spMkLst>
            <pc:docMk/>
            <pc:sldMk cId="3880333960" sldId="1788"/>
            <ac:spMk id="15" creationId="{9AE8FE30-A710-4B8E-892D-E1795771AD1B}"/>
          </ac:spMkLst>
        </pc:spChg>
        <pc:spChg chg="add mod">
          <ac:chgData name="Ogundairo, Sunmisola" userId="ca9d8627-40bc-4f68-b59e-d13554e1af79" providerId="ADAL" clId="{54C62467-273D-4DB3-B748-833FCF7E9C12}" dt="2023-03-27T23:23:35.932" v="2695" actId="207"/>
          <ac:spMkLst>
            <pc:docMk/>
            <pc:sldMk cId="3880333960" sldId="1788"/>
            <ac:spMk id="16" creationId="{8211B787-3DCA-4973-9863-A246E509352D}"/>
          </ac:spMkLst>
        </pc:spChg>
        <pc:spChg chg="add mod">
          <ac:chgData name="Ogundairo, Sunmisola" userId="ca9d8627-40bc-4f68-b59e-d13554e1af79" providerId="ADAL" clId="{54C62467-273D-4DB3-B748-833FCF7E9C12}" dt="2023-03-27T23:23:35.932" v="2695" actId="207"/>
          <ac:spMkLst>
            <pc:docMk/>
            <pc:sldMk cId="3880333960" sldId="1788"/>
            <ac:spMk id="17" creationId="{3F6BD936-5D3A-4106-9B96-7200D6A00E8A}"/>
          </ac:spMkLst>
        </pc:spChg>
        <pc:spChg chg="add mod">
          <ac:chgData name="Ogundairo, Sunmisola" userId="ca9d8627-40bc-4f68-b59e-d13554e1af79" providerId="ADAL" clId="{54C62467-273D-4DB3-B748-833FCF7E9C12}" dt="2023-03-27T23:40:49.810" v="3109" actId="20577"/>
          <ac:spMkLst>
            <pc:docMk/>
            <pc:sldMk cId="3880333960" sldId="1788"/>
            <ac:spMk id="18" creationId="{72AD0809-94C2-4773-9872-69364F6A050E}"/>
          </ac:spMkLst>
        </pc:spChg>
        <pc:spChg chg="add mod">
          <ac:chgData name="Ogundairo, Sunmisola" userId="ca9d8627-40bc-4f68-b59e-d13554e1af79" providerId="ADAL" clId="{54C62467-273D-4DB3-B748-833FCF7E9C12}" dt="2023-03-27T23:23:35.932" v="2695" actId="207"/>
          <ac:spMkLst>
            <pc:docMk/>
            <pc:sldMk cId="3880333960" sldId="1788"/>
            <ac:spMk id="20" creationId="{0EE4FFD6-6084-4B25-8049-C93702C01CAB}"/>
          </ac:spMkLst>
        </pc:spChg>
        <pc:spChg chg="add mod">
          <ac:chgData name="Ogundairo, Sunmisola" userId="ca9d8627-40bc-4f68-b59e-d13554e1af79" providerId="ADAL" clId="{54C62467-273D-4DB3-B748-833FCF7E9C12}" dt="2023-03-27T23:23:35.932" v="2695" actId="207"/>
          <ac:spMkLst>
            <pc:docMk/>
            <pc:sldMk cId="3880333960" sldId="1788"/>
            <ac:spMk id="21" creationId="{ED6E9891-BC2B-47CE-90AE-ED52FF987BB2}"/>
          </ac:spMkLst>
        </pc:spChg>
        <pc:spChg chg="add mod">
          <ac:chgData name="Ogundairo, Sunmisola" userId="ca9d8627-40bc-4f68-b59e-d13554e1af79" providerId="ADAL" clId="{54C62467-273D-4DB3-B748-833FCF7E9C12}" dt="2023-03-27T23:23:35.932" v="2695" actId="207"/>
          <ac:spMkLst>
            <pc:docMk/>
            <pc:sldMk cId="3880333960" sldId="1788"/>
            <ac:spMk id="23" creationId="{ECC275DD-B0DD-488B-ABD9-EAE7D12CB524}"/>
          </ac:spMkLst>
        </pc:spChg>
        <pc:spChg chg="add mod">
          <ac:chgData name="Ogundairo, Sunmisola" userId="ca9d8627-40bc-4f68-b59e-d13554e1af79" providerId="ADAL" clId="{54C62467-273D-4DB3-B748-833FCF7E9C12}" dt="2023-03-27T23:23:35.932" v="2695" actId="207"/>
          <ac:spMkLst>
            <pc:docMk/>
            <pc:sldMk cId="3880333960" sldId="1788"/>
            <ac:spMk id="24" creationId="{2439BC95-D627-41F4-A9F3-EC3FE433B889}"/>
          </ac:spMkLst>
        </pc:spChg>
        <pc:spChg chg="add mod">
          <ac:chgData name="Ogundairo, Sunmisola" userId="ca9d8627-40bc-4f68-b59e-d13554e1af79" providerId="ADAL" clId="{54C62467-273D-4DB3-B748-833FCF7E9C12}" dt="2023-03-27T23:23:35.932" v="2695" actId="207"/>
          <ac:spMkLst>
            <pc:docMk/>
            <pc:sldMk cId="3880333960" sldId="1788"/>
            <ac:spMk id="26" creationId="{82002DA9-78D3-467A-A11D-346FFB579C57}"/>
          </ac:spMkLst>
        </pc:spChg>
        <pc:spChg chg="add mod">
          <ac:chgData name="Ogundairo, Sunmisola" userId="ca9d8627-40bc-4f68-b59e-d13554e1af79" providerId="ADAL" clId="{54C62467-273D-4DB3-B748-833FCF7E9C12}" dt="2023-03-27T23:23:35.932" v="2695" actId="207"/>
          <ac:spMkLst>
            <pc:docMk/>
            <pc:sldMk cId="3880333960" sldId="1788"/>
            <ac:spMk id="28" creationId="{52C2A10B-FE82-474E-AC96-9F080DB5DEEC}"/>
          </ac:spMkLst>
        </pc:spChg>
        <pc:spChg chg="del">
          <ac:chgData name="Ogundairo, Sunmisola" userId="ca9d8627-40bc-4f68-b59e-d13554e1af79" providerId="ADAL" clId="{54C62467-273D-4DB3-B748-833FCF7E9C12}" dt="2023-03-27T14:23:29.779" v="340" actId="478"/>
          <ac:spMkLst>
            <pc:docMk/>
            <pc:sldMk cId="3880333960" sldId="1788"/>
            <ac:spMk id="50" creationId="{00000000-0000-0000-0000-000000000000}"/>
          </ac:spMkLst>
        </pc:spChg>
        <pc:spChg chg="del">
          <ac:chgData name="Ogundairo, Sunmisola" userId="ca9d8627-40bc-4f68-b59e-d13554e1af79" providerId="ADAL" clId="{54C62467-273D-4DB3-B748-833FCF7E9C12}" dt="2023-03-27T14:23:32.454" v="341" actId="478"/>
          <ac:spMkLst>
            <pc:docMk/>
            <pc:sldMk cId="3880333960" sldId="1788"/>
            <ac:spMk id="52" creationId="{00000000-0000-0000-0000-000000000000}"/>
          </ac:spMkLst>
        </pc:spChg>
        <pc:spChg chg="del">
          <ac:chgData name="Ogundairo, Sunmisola" userId="ca9d8627-40bc-4f68-b59e-d13554e1af79" providerId="ADAL" clId="{54C62467-273D-4DB3-B748-833FCF7E9C12}" dt="2023-03-27T14:23:32.454" v="341" actId="478"/>
          <ac:spMkLst>
            <pc:docMk/>
            <pc:sldMk cId="3880333960" sldId="1788"/>
            <ac:spMk id="53"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55"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56" creationId="{00000000-0000-0000-0000-000000000000}"/>
          </ac:spMkLst>
        </pc:spChg>
        <pc:spChg chg="del">
          <ac:chgData name="Ogundairo, Sunmisola" userId="ca9d8627-40bc-4f68-b59e-d13554e1af79" providerId="ADAL" clId="{54C62467-273D-4DB3-B748-833FCF7E9C12}" dt="2023-03-27T14:23:32.454" v="341" actId="478"/>
          <ac:spMkLst>
            <pc:docMk/>
            <pc:sldMk cId="3880333960" sldId="1788"/>
            <ac:spMk id="58"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59"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61"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65"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67" creationId="{00000000-0000-0000-0000-000000000000}"/>
          </ac:spMkLst>
        </pc:spChg>
        <pc:spChg chg="del">
          <ac:chgData name="Ogundairo, Sunmisola" userId="ca9d8627-40bc-4f68-b59e-d13554e1af79" providerId="ADAL" clId="{54C62467-273D-4DB3-B748-833FCF7E9C12}" dt="2023-03-27T14:23:29.779" v="340" actId="478"/>
          <ac:spMkLst>
            <pc:docMk/>
            <pc:sldMk cId="3880333960" sldId="1788"/>
            <ac:spMk id="69" creationId="{00000000-0000-0000-0000-000000000000}"/>
          </ac:spMkLst>
        </pc:spChg>
        <pc:spChg chg="del">
          <ac:chgData name="Ogundairo, Sunmisola" userId="ca9d8627-40bc-4f68-b59e-d13554e1af79" providerId="ADAL" clId="{54C62467-273D-4DB3-B748-833FCF7E9C12}" dt="2023-03-27T14:23:32.454" v="341" actId="478"/>
          <ac:spMkLst>
            <pc:docMk/>
            <pc:sldMk cId="3880333960" sldId="1788"/>
            <ac:spMk id="71" creationId="{00000000-0000-0000-0000-000000000000}"/>
          </ac:spMkLst>
        </pc:spChg>
        <pc:picChg chg="add mod">
          <ac:chgData name="Ogundairo, Sunmisola" userId="ca9d8627-40bc-4f68-b59e-d13554e1af79" providerId="ADAL" clId="{54C62467-273D-4DB3-B748-833FCF7E9C12}" dt="2023-03-27T14:58:44.233" v="1744"/>
          <ac:picMkLst>
            <pc:docMk/>
            <pc:sldMk cId="3880333960" sldId="1788"/>
            <ac:picMk id="30" creationId="{53485A62-C555-4281-A626-6BCD8DBAD029}"/>
          </ac:picMkLst>
        </pc:picChg>
        <pc:cxnChg chg="add mod">
          <ac:chgData name="Ogundairo, Sunmisola" userId="ca9d8627-40bc-4f68-b59e-d13554e1af79" providerId="ADAL" clId="{54C62467-273D-4DB3-B748-833FCF7E9C12}" dt="2023-03-27T14:24:00.670" v="349"/>
          <ac:cxnSpMkLst>
            <pc:docMk/>
            <pc:sldMk cId="3880333960" sldId="1788"/>
            <ac:cxnSpMk id="19" creationId="{3B2DE4D3-50EF-4FBC-9DAA-89D59F6C730A}"/>
          </ac:cxnSpMkLst>
        </pc:cxnChg>
        <pc:cxnChg chg="add mod">
          <ac:chgData name="Ogundairo, Sunmisola" userId="ca9d8627-40bc-4f68-b59e-d13554e1af79" providerId="ADAL" clId="{54C62467-273D-4DB3-B748-833FCF7E9C12}" dt="2023-03-27T14:24:00.670" v="349"/>
          <ac:cxnSpMkLst>
            <pc:docMk/>
            <pc:sldMk cId="3880333960" sldId="1788"/>
            <ac:cxnSpMk id="22" creationId="{ADACC06C-DBFE-4DA9-B96F-CCD42ACC1D0B}"/>
          </ac:cxnSpMkLst>
        </pc:cxnChg>
        <pc:cxnChg chg="add mod">
          <ac:chgData name="Ogundairo, Sunmisola" userId="ca9d8627-40bc-4f68-b59e-d13554e1af79" providerId="ADAL" clId="{54C62467-273D-4DB3-B748-833FCF7E9C12}" dt="2023-03-27T14:24:00.670" v="349"/>
          <ac:cxnSpMkLst>
            <pc:docMk/>
            <pc:sldMk cId="3880333960" sldId="1788"/>
            <ac:cxnSpMk id="25" creationId="{53C44EB5-7BEA-4D40-BE83-E8E79609112A}"/>
          </ac:cxnSpMkLst>
        </pc:cxnChg>
        <pc:cxnChg chg="add mod">
          <ac:chgData name="Ogundairo, Sunmisola" userId="ca9d8627-40bc-4f68-b59e-d13554e1af79" providerId="ADAL" clId="{54C62467-273D-4DB3-B748-833FCF7E9C12}" dt="2023-03-27T14:24:00.670" v="349"/>
          <ac:cxnSpMkLst>
            <pc:docMk/>
            <pc:sldMk cId="3880333960" sldId="1788"/>
            <ac:cxnSpMk id="27" creationId="{94D4C1DB-6EF7-4319-8B1E-D4BA350D33D9}"/>
          </ac:cxnSpMkLst>
        </pc:cxnChg>
        <pc:cxnChg chg="add mod">
          <ac:chgData name="Ogundairo, Sunmisola" userId="ca9d8627-40bc-4f68-b59e-d13554e1af79" providerId="ADAL" clId="{54C62467-273D-4DB3-B748-833FCF7E9C12}" dt="2023-03-27T14:24:14.556" v="351"/>
          <ac:cxnSpMkLst>
            <pc:docMk/>
            <pc:sldMk cId="3880333960" sldId="1788"/>
            <ac:cxnSpMk id="29" creationId="{E74F6DE2-1C1D-434D-8561-A2A5B0DA68EA}"/>
          </ac:cxnSpMkLst>
        </pc:cxnChg>
      </pc:sldChg>
      <pc:sldChg chg="add del ord">
        <pc:chgData name="Ogundairo, Sunmisola" userId="ca9d8627-40bc-4f68-b59e-d13554e1af79" providerId="ADAL" clId="{54C62467-273D-4DB3-B748-833FCF7E9C12}" dt="2023-03-27T14:26:51.704" v="498" actId="47"/>
        <pc:sldMkLst>
          <pc:docMk/>
          <pc:sldMk cId="4120612071" sldId="1789"/>
        </pc:sldMkLst>
      </pc:sldChg>
      <pc:sldChg chg="addSp delSp modSp add mod setBg">
        <pc:chgData name="Ogundairo, Sunmisola" userId="ca9d8627-40bc-4f68-b59e-d13554e1af79" providerId="ADAL" clId="{54C62467-273D-4DB3-B748-833FCF7E9C12}" dt="2023-03-27T23:23:35.124" v="2694" actId="207"/>
        <pc:sldMkLst>
          <pc:docMk/>
          <pc:sldMk cId="648498663" sldId="1790"/>
        </pc:sldMkLst>
        <pc:spChg chg="mod">
          <ac:chgData name="Ogundairo, Sunmisola" userId="ca9d8627-40bc-4f68-b59e-d13554e1af79" providerId="ADAL" clId="{54C62467-273D-4DB3-B748-833FCF7E9C12}" dt="2023-03-27T23:23:35.124" v="2694" actId="207"/>
          <ac:spMkLst>
            <pc:docMk/>
            <pc:sldMk cId="648498663" sldId="1790"/>
            <ac:spMk id="3" creationId="{00000000-0000-0000-0000-000000000000}"/>
          </ac:spMkLst>
        </pc:spChg>
        <pc:spChg chg="add del mod">
          <ac:chgData name="Ogundairo, Sunmisola" userId="ca9d8627-40bc-4f68-b59e-d13554e1af79" providerId="ADAL" clId="{54C62467-273D-4DB3-B748-833FCF7E9C12}" dt="2023-03-27T14:32:42.271" v="543" actId="478"/>
          <ac:spMkLst>
            <pc:docMk/>
            <pc:sldMk cId="648498663" sldId="1790"/>
            <ac:spMk id="5" creationId="{AB4E31C9-C9D2-4017-B95C-9730928BD61F}"/>
          </ac:spMkLst>
        </pc:spChg>
        <pc:spChg chg="del mod">
          <ac:chgData name="Ogundairo, Sunmisola" userId="ca9d8627-40bc-4f68-b59e-d13554e1af79" providerId="ADAL" clId="{54C62467-273D-4DB3-B748-833FCF7E9C12}" dt="2023-03-27T14:31:01.584" v="531" actId="478"/>
          <ac:spMkLst>
            <pc:docMk/>
            <pc:sldMk cId="648498663" sldId="1790"/>
            <ac:spMk id="15" creationId="{9AE8FE30-A710-4B8E-892D-E1795771AD1B}"/>
          </ac:spMkLst>
        </pc:spChg>
        <pc:spChg chg="del mod">
          <ac:chgData name="Ogundairo, Sunmisola" userId="ca9d8627-40bc-4f68-b59e-d13554e1af79" providerId="ADAL" clId="{54C62467-273D-4DB3-B748-833FCF7E9C12}" dt="2023-03-27T14:31:01.584" v="531" actId="478"/>
          <ac:spMkLst>
            <pc:docMk/>
            <pc:sldMk cId="648498663" sldId="1790"/>
            <ac:spMk id="16" creationId="{8211B787-3DCA-4973-9863-A246E509352D}"/>
          </ac:spMkLst>
        </pc:spChg>
        <pc:spChg chg="del mod">
          <ac:chgData name="Ogundairo, Sunmisola" userId="ca9d8627-40bc-4f68-b59e-d13554e1af79" providerId="ADAL" clId="{54C62467-273D-4DB3-B748-833FCF7E9C12}" dt="2023-03-27T14:31:01.584" v="531" actId="478"/>
          <ac:spMkLst>
            <pc:docMk/>
            <pc:sldMk cId="648498663" sldId="1790"/>
            <ac:spMk id="17" creationId="{3F6BD936-5D3A-4106-9B96-7200D6A00E8A}"/>
          </ac:spMkLst>
        </pc:spChg>
        <pc:spChg chg="del mod">
          <ac:chgData name="Ogundairo, Sunmisola" userId="ca9d8627-40bc-4f68-b59e-d13554e1af79" providerId="ADAL" clId="{54C62467-273D-4DB3-B748-833FCF7E9C12}" dt="2023-03-27T14:31:01.584" v="531" actId="478"/>
          <ac:spMkLst>
            <pc:docMk/>
            <pc:sldMk cId="648498663" sldId="1790"/>
            <ac:spMk id="18" creationId="{72AD0809-94C2-4773-9872-69364F6A050E}"/>
          </ac:spMkLst>
        </pc:spChg>
        <pc:spChg chg="del mod">
          <ac:chgData name="Ogundairo, Sunmisola" userId="ca9d8627-40bc-4f68-b59e-d13554e1af79" providerId="ADAL" clId="{54C62467-273D-4DB3-B748-833FCF7E9C12}" dt="2023-03-27T14:31:01.584" v="531" actId="478"/>
          <ac:spMkLst>
            <pc:docMk/>
            <pc:sldMk cId="648498663" sldId="1790"/>
            <ac:spMk id="20" creationId="{0EE4FFD6-6084-4B25-8049-C93702C01CAB}"/>
          </ac:spMkLst>
        </pc:spChg>
        <pc:spChg chg="del mod">
          <ac:chgData name="Ogundairo, Sunmisola" userId="ca9d8627-40bc-4f68-b59e-d13554e1af79" providerId="ADAL" clId="{54C62467-273D-4DB3-B748-833FCF7E9C12}" dt="2023-03-27T14:31:01.584" v="531" actId="478"/>
          <ac:spMkLst>
            <pc:docMk/>
            <pc:sldMk cId="648498663" sldId="1790"/>
            <ac:spMk id="21" creationId="{ED6E9891-BC2B-47CE-90AE-ED52FF987BB2}"/>
          </ac:spMkLst>
        </pc:spChg>
        <pc:spChg chg="del mod">
          <ac:chgData name="Ogundairo, Sunmisola" userId="ca9d8627-40bc-4f68-b59e-d13554e1af79" providerId="ADAL" clId="{54C62467-273D-4DB3-B748-833FCF7E9C12}" dt="2023-03-27T14:31:01.584" v="531" actId="478"/>
          <ac:spMkLst>
            <pc:docMk/>
            <pc:sldMk cId="648498663" sldId="1790"/>
            <ac:spMk id="23" creationId="{ECC275DD-B0DD-488B-ABD9-EAE7D12CB524}"/>
          </ac:spMkLst>
        </pc:spChg>
        <pc:spChg chg="del mod">
          <ac:chgData name="Ogundairo, Sunmisola" userId="ca9d8627-40bc-4f68-b59e-d13554e1af79" providerId="ADAL" clId="{54C62467-273D-4DB3-B748-833FCF7E9C12}" dt="2023-03-27T14:31:01.584" v="531" actId="478"/>
          <ac:spMkLst>
            <pc:docMk/>
            <pc:sldMk cId="648498663" sldId="1790"/>
            <ac:spMk id="24" creationId="{2439BC95-D627-41F4-A9F3-EC3FE433B889}"/>
          </ac:spMkLst>
        </pc:spChg>
        <pc:spChg chg="del mod">
          <ac:chgData name="Ogundairo, Sunmisola" userId="ca9d8627-40bc-4f68-b59e-d13554e1af79" providerId="ADAL" clId="{54C62467-273D-4DB3-B748-833FCF7E9C12}" dt="2023-03-27T14:31:01.584" v="531" actId="478"/>
          <ac:spMkLst>
            <pc:docMk/>
            <pc:sldMk cId="648498663" sldId="1790"/>
            <ac:spMk id="26" creationId="{82002DA9-78D3-467A-A11D-346FFB579C57}"/>
          </ac:spMkLst>
        </pc:spChg>
        <pc:spChg chg="del mod">
          <ac:chgData name="Ogundairo, Sunmisola" userId="ca9d8627-40bc-4f68-b59e-d13554e1af79" providerId="ADAL" clId="{54C62467-273D-4DB3-B748-833FCF7E9C12}" dt="2023-03-27T14:31:01.584" v="531" actId="478"/>
          <ac:spMkLst>
            <pc:docMk/>
            <pc:sldMk cId="648498663" sldId="1790"/>
            <ac:spMk id="28" creationId="{52C2A10B-FE82-474E-AC96-9F080DB5DEEC}"/>
          </ac:spMkLst>
        </pc:spChg>
        <pc:spChg chg="add mod">
          <ac:chgData name="Ogundairo, Sunmisola" userId="ca9d8627-40bc-4f68-b59e-d13554e1af79" providerId="ADAL" clId="{54C62467-273D-4DB3-B748-833FCF7E9C12}" dt="2023-03-27T15:02:55.864" v="1929" actId="1036"/>
          <ac:spMkLst>
            <pc:docMk/>
            <pc:sldMk cId="648498663" sldId="1790"/>
            <ac:spMk id="30" creationId="{89A24584-3B7D-4C7C-9394-196F14FC3F7A}"/>
          </ac:spMkLst>
        </pc:spChg>
        <pc:spChg chg="add mod">
          <ac:chgData name="Ogundairo, Sunmisola" userId="ca9d8627-40bc-4f68-b59e-d13554e1af79" providerId="ADAL" clId="{54C62467-273D-4DB3-B748-833FCF7E9C12}" dt="2023-03-27T15:02:55.864" v="1929" actId="1036"/>
          <ac:spMkLst>
            <pc:docMk/>
            <pc:sldMk cId="648498663" sldId="1790"/>
            <ac:spMk id="31" creationId="{04B2F302-8369-4A6D-B0C0-DD3D9FCE2C64}"/>
          </ac:spMkLst>
        </pc:spChg>
        <pc:spChg chg="add del mod">
          <ac:chgData name="Ogundairo, Sunmisola" userId="ca9d8627-40bc-4f68-b59e-d13554e1af79" providerId="ADAL" clId="{54C62467-273D-4DB3-B748-833FCF7E9C12}" dt="2023-03-27T14:31:59.870" v="538" actId="478"/>
          <ac:spMkLst>
            <pc:docMk/>
            <pc:sldMk cId="648498663" sldId="1790"/>
            <ac:spMk id="32" creationId="{4FD0D6D6-D1E6-40FA-B16E-E28D514D9B4A}"/>
          </ac:spMkLst>
        </pc:spChg>
        <pc:spChg chg="add mod">
          <ac:chgData name="Ogundairo, Sunmisola" userId="ca9d8627-40bc-4f68-b59e-d13554e1af79" providerId="ADAL" clId="{54C62467-273D-4DB3-B748-833FCF7E9C12}" dt="2023-03-27T15:02:55.864" v="1929" actId="1036"/>
          <ac:spMkLst>
            <pc:docMk/>
            <pc:sldMk cId="648498663" sldId="1790"/>
            <ac:spMk id="33" creationId="{33D0F238-D4FD-4C3D-B2BC-06AD71530717}"/>
          </ac:spMkLst>
        </pc:spChg>
        <pc:spChg chg="add mod">
          <ac:chgData name="Ogundairo, Sunmisola" userId="ca9d8627-40bc-4f68-b59e-d13554e1af79" providerId="ADAL" clId="{54C62467-273D-4DB3-B748-833FCF7E9C12}" dt="2023-03-27T14:32:21.321" v="540"/>
          <ac:spMkLst>
            <pc:docMk/>
            <pc:sldMk cId="648498663" sldId="1790"/>
            <ac:spMk id="34" creationId="{9D96D337-0722-49E5-81EE-860C1236EE7C}"/>
          </ac:spMkLst>
        </pc:spChg>
        <pc:spChg chg="add mod">
          <ac:chgData name="Ogundairo, Sunmisola" userId="ca9d8627-40bc-4f68-b59e-d13554e1af79" providerId="ADAL" clId="{54C62467-273D-4DB3-B748-833FCF7E9C12}" dt="2023-03-27T19:29:52.126" v="2654" actId="20577"/>
          <ac:spMkLst>
            <pc:docMk/>
            <pc:sldMk cId="648498663" sldId="1790"/>
            <ac:spMk id="35" creationId="{A50CCC2D-44EB-488A-971E-A9D951AEC6B2}"/>
          </ac:spMkLst>
        </pc:spChg>
        <pc:picChg chg="add mod">
          <ac:chgData name="Ogundairo, Sunmisola" userId="ca9d8627-40bc-4f68-b59e-d13554e1af79" providerId="ADAL" clId="{54C62467-273D-4DB3-B748-833FCF7E9C12}" dt="2023-03-27T14:28:27.810" v="506" actId="14100"/>
          <ac:picMkLst>
            <pc:docMk/>
            <pc:sldMk cId="648498663" sldId="1790"/>
            <ac:picMk id="4" creationId="{930B9282-0C0A-4496-9FD0-7F4CCB9B46AB}"/>
          </ac:picMkLst>
        </pc:picChg>
        <pc:cxnChg chg="del">
          <ac:chgData name="Ogundairo, Sunmisola" userId="ca9d8627-40bc-4f68-b59e-d13554e1af79" providerId="ADAL" clId="{54C62467-273D-4DB3-B748-833FCF7E9C12}" dt="2023-03-27T14:31:01.584" v="531" actId="478"/>
          <ac:cxnSpMkLst>
            <pc:docMk/>
            <pc:sldMk cId="648498663" sldId="1790"/>
            <ac:cxnSpMk id="19" creationId="{3B2DE4D3-50EF-4FBC-9DAA-89D59F6C730A}"/>
          </ac:cxnSpMkLst>
        </pc:cxnChg>
        <pc:cxnChg chg="del">
          <ac:chgData name="Ogundairo, Sunmisola" userId="ca9d8627-40bc-4f68-b59e-d13554e1af79" providerId="ADAL" clId="{54C62467-273D-4DB3-B748-833FCF7E9C12}" dt="2023-03-27T14:31:01.584" v="531" actId="478"/>
          <ac:cxnSpMkLst>
            <pc:docMk/>
            <pc:sldMk cId="648498663" sldId="1790"/>
            <ac:cxnSpMk id="22" creationId="{ADACC06C-DBFE-4DA9-B96F-CCD42ACC1D0B}"/>
          </ac:cxnSpMkLst>
        </pc:cxnChg>
        <pc:cxnChg chg="del">
          <ac:chgData name="Ogundairo, Sunmisola" userId="ca9d8627-40bc-4f68-b59e-d13554e1af79" providerId="ADAL" clId="{54C62467-273D-4DB3-B748-833FCF7E9C12}" dt="2023-03-27T14:31:01.584" v="531" actId="478"/>
          <ac:cxnSpMkLst>
            <pc:docMk/>
            <pc:sldMk cId="648498663" sldId="1790"/>
            <ac:cxnSpMk id="25" creationId="{53C44EB5-7BEA-4D40-BE83-E8E79609112A}"/>
          </ac:cxnSpMkLst>
        </pc:cxnChg>
        <pc:cxnChg chg="del">
          <ac:chgData name="Ogundairo, Sunmisola" userId="ca9d8627-40bc-4f68-b59e-d13554e1af79" providerId="ADAL" clId="{54C62467-273D-4DB3-B748-833FCF7E9C12}" dt="2023-03-27T14:31:01.584" v="531" actId="478"/>
          <ac:cxnSpMkLst>
            <pc:docMk/>
            <pc:sldMk cId="648498663" sldId="1790"/>
            <ac:cxnSpMk id="27" creationId="{94D4C1DB-6EF7-4319-8B1E-D4BA350D33D9}"/>
          </ac:cxnSpMkLst>
        </pc:cxnChg>
        <pc:cxnChg chg="del">
          <ac:chgData name="Ogundairo, Sunmisola" userId="ca9d8627-40bc-4f68-b59e-d13554e1af79" providerId="ADAL" clId="{54C62467-273D-4DB3-B748-833FCF7E9C12}" dt="2023-03-27T14:31:03.644" v="532" actId="478"/>
          <ac:cxnSpMkLst>
            <pc:docMk/>
            <pc:sldMk cId="648498663" sldId="1790"/>
            <ac:cxnSpMk id="29" creationId="{E74F6DE2-1C1D-434D-8561-A2A5B0DA68EA}"/>
          </ac:cxnSpMkLst>
        </pc:cxnChg>
      </pc:sldChg>
      <pc:sldChg chg="addSp delSp modSp add mod">
        <pc:chgData name="Ogundairo, Sunmisola" userId="ca9d8627-40bc-4f68-b59e-d13554e1af79" providerId="ADAL" clId="{54C62467-273D-4DB3-B748-833FCF7E9C12}" dt="2023-03-27T23:40:07.754" v="3106" actId="20577"/>
        <pc:sldMkLst>
          <pc:docMk/>
          <pc:sldMk cId="1326631718" sldId="1791"/>
        </pc:sldMkLst>
        <pc:spChg chg="mod">
          <ac:chgData name="Ogundairo, Sunmisola" userId="ca9d8627-40bc-4f68-b59e-d13554e1af79" providerId="ADAL" clId="{54C62467-273D-4DB3-B748-833FCF7E9C12}" dt="2023-03-27T15:10:45.404" v="1969" actId="207"/>
          <ac:spMkLst>
            <pc:docMk/>
            <pc:sldMk cId="1326631718" sldId="1791"/>
            <ac:spMk id="3" creationId="{00000000-0000-0000-0000-000000000000}"/>
          </ac:spMkLst>
        </pc:spChg>
        <pc:spChg chg="add del mod">
          <ac:chgData name="Ogundairo, Sunmisola" userId="ca9d8627-40bc-4f68-b59e-d13554e1af79" providerId="ADAL" clId="{54C62467-273D-4DB3-B748-833FCF7E9C12}" dt="2023-03-27T23:24:04.831" v="2700" actId="478"/>
          <ac:spMkLst>
            <pc:docMk/>
            <pc:sldMk cId="1326631718" sldId="1791"/>
            <ac:spMk id="8" creationId="{13D5B880-D09E-4B0E-8680-07A8ABC9C2A1}"/>
          </ac:spMkLst>
        </pc:spChg>
        <pc:spChg chg="add del mod">
          <ac:chgData name="Ogundairo, Sunmisola" userId="ca9d8627-40bc-4f68-b59e-d13554e1af79" providerId="ADAL" clId="{54C62467-273D-4DB3-B748-833FCF7E9C12}" dt="2023-03-27T15:09:51.302" v="1961" actId="478"/>
          <ac:spMkLst>
            <pc:docMk/>
            <pc:sldMk cId="1326631718" sldId="1791"/>
            <ac:spMk id="9" creationId="{D57698F4-3414-47FD-B819-C16C1E618C58}"/>
          </ac:spMkLst>
        </pc:spChg>
        <pc:spChg chg="add del mod">
          <ac:chgData name="Ogundairo, Sunmisola" userId="ca9d8627-40bc-4f68-b59e-d13554e1af79" providerId="ADAL" clId="{54C62467-273D-4DB3-B748-833FCF7E9C12}" dt="2023-03-27T15:09:51.302" v="1961" actId="478"/>
          <ac:spMkLst>
            <pc:docMk/>
            <pc:sldMk cId="1326631718" sldId="1791"/>
            <ac:spMk id="10" creationId="{75878A7C-5AB5-4060-A5E8-D4BD91BB62E8}"/>
          </ac:spMkLst>
        </pc:spChg>
        <pc:spChg chg="add del mod">
          <ac:chgData name="Ogundairo, Sunmisola" userId="ca9d8627-40bc-4f68-b59e-d13554e1af79" providerId="ADAL" clId="{54C62467-273D-4DB3-B748-833FCF7E9C12}" dt="2023-03-27T15:09:51.302" v="1961" actId="478"/>
          <ac:spMkLst>
            <pc:docMk/>
            <pc:sldMk cId="1326631718" sldId="1791"/>
            <ac:spMk id="11" creationId="{BDD6E2F1-375C-4337-AC48-54073129A1D7}"/>
          </ac:spMkLst>
        </pc:spChg>
        <pc:spChg chg="add del mod">
          <ac:chgData name="Ogundairo, Sunmisola" userId="ca9d8627-40bc-4f68-b59e-d13554e1af79" providerId="ADAL" clId="{54C62467-273D-4DB3-B748-833FCF7E9C12}" dt="2023-03-27T15:10:06.398" v="1965" actId="478"/>
          <ac:spMkLst>
            <pc:docMk/>
            <pc:sldMk cId="1326631718" sldId="1791"/>
            <ac:spMk id="12" creationId="{CBA94020-7686-41B5-B747-4104C1776216}"/>
          </ac:spMkLst>
        </pc:spChg>
        <pc:spChg chg="add del mod">
          <ac:chgData name="Ogundairo, Sunmisola" userId="ca9d8627-40bc-4f68-b59e-d13554e1af79" providerId="ADAL" clId="{54C62467-273D-4DB3-B748-833FCF7E9C12}" dt="2023-03-27T15:10:06.398" v="1965" actId="478"/>
          <ac:spMkLst>
            <pc:docMk/>
            <pc:sldMk cId="1326631718" sldId="1791"/>
            <ac:spMk id="13" creationId="{3FE1A5E3-1C46-447A-BC9C-1A042E45E1DE}"/>
          </ac:spMkLst>
        </pc:spChg>
        <pc:spChg chg="add del mod">
          <ac:chgData name="Ogundairo, Sunmisola" userId="ca9d8627-40bc-4f68-b59e-d13554e1af79" providerId="ADAL" clId="{54C62467-273D-4DB3-B748-833FCF7E9C12}" dt="2023-03-27T15:10:06.398" v="1965" actId="478"/>
          <ac:spMkLst>
            <pc:docMk/>
            <pc:sldMk cId="1326631718" sldId="1791"/>
            <ac:spMk id="14" creationId="{47570F21-917C-4A21-99FE-B7229BBBC706}"/>
          </ac:spMkLst>
        </pc:spChg>
        <pc:spChg chg="add del mod">
          <ac:chgData name="Ogundairo, Sunmisola" userId="ca9d8627-40bc-4f68-b59e-d13554e1af79" providerId="ADAL" clId="{54C62467-273D-4DB3-B748-833FCF7E9C12}" dt="2023-03-27T15:10:06.398" v="1965" actId="478"/>
          <ac:spMkLst>
            <pc:docMk/>
            <pc:sldMk cId="1326631718" sldId="1791"/>
            <ac:spMk id="15" creationId="{1FFF4BB3-510E-4B2C-BECB-196D2EA0E6BD}"/>
          </ac:spMkLst>
        </pc:spChg>
        <pc:spChg chg="add del mod">
          <ac:chgData name="Ogundairo, Sunmisola" userId="ca9d8627-40bc-4f68-b59e-d13554e1af79" providerId="ADAL" clId="{54C62467-273D-4DB3-B748-833FCF7E9C12}" dt="2023-03-27T15:10:00.488" v="1964" actId="478"/>
          <ac:spMkLst>
            <pc:docMk/>
            <pc:sldMk cId="1326631718" sldId="1791"/>
            <ac:spMk id="16" creationId="{5E8471C7-723E-4667-A41E-2AFF3110D9F4}"/>
          </ac:spMkLst>
        </pc:spChg>
        <pc:spChg chg="add del mod">
          <ac:chgData name="Ogundairo, Sunmisola" userId="ca9d8627-40bc-4f68-b59e-d13554e1af79" providerId="ADAL" clId="{54C62467-273D-4DB3-B748-833FCF7E9C12}" dt="2023-03-27T15:10:00.488" v="1964" actId="478"/>
          <ac:spMkLst>
            <pc:docMk/>
            <pc:sldMk cId="1326631718" sldId="1791"/>
            <ac:spMk id="17" creationId="{911AFA49-EEFB-4C88-8D18-1D94D38F4D59}"/>
          </ac:spMkLst>
        </pc:spChg>
        <pc:spChg chg="add del mod">
          <ac:chgData name="Ogundairo, Sunmisola" userId="ca9d8627-40bc-4f68-b59e-d13554e1af79" providerId="ADAL" clId="{54C62467-273D-4DB3-B748-833FCF7E9C12}" dt="2023-03-27T15:10:00.488" v="1964" actId="478"/>
          <ac:spMkLst>
            <pc:docMk/>
            <pc:sldMk cId="1326631718" sldId="1791"/>
            <ac:spMk id="18" creationId="{246E4E13-6618-41EE-8679-04EDDA255AFA}"/>
          </ac:spMkLst>
        </pc:spChg>
        <pc:spChg chg="add del mod">
          <ac:chgData name="Ogundairo, Sunmisola" userId="ca9d8627-40bc-4f68-b59e-d13554e1af79" providerId="ADAL" clId="{54C62467-273D-4DB3-B748-833FCF7E9C12}" dt="2023-03-27T15:10:00.488" v="1964" actId="478"/>
          <ac:spMkLst>
            <pc:docMk/>
            <pc:sldMk cId="1326631718" sldId="1791"/>
            <ac:spMk id="19" creationId="{71BE4F6F-7C31-4B1A-B05C-DDC79893CFD2}"/>
          </ac:spMkLst>
        </pc:spChg>
        <pc:spChg chg="mod">
          <ac:chgData name="Ogundairo, Sunmisola" userId="ca9d8627-40bc-4f68-b59e-d13554e1af79" providerId="ADAL" clId="{54C62467-273D-4DB3-B748-833FCF7E9C12}" dt="2023-03-27T15:10:45.404" v="1969" actId="207"/>
          <ac:spMkLst>
            <pc:docMk/>
            <pc:sldMk cId="1326631718" sldId="1791"/>
            <ac:spMk id="21" creationId="{C8D0D5A4-A607-477B-B0FF-7CFD89E6DB9C}"/>
          </ac:spMkLst>
        </pc:spChg>
        <pc:spChg chg="mod">
          <ac:chgData name="Ogundairo, Sunmisola" userId="ca9d8627-40bc-4f68-b59e-d13554e1af79" providerId="ADAL" clId="{54C62467-273D-4DB3-B748-833FCF7E9C12}" dt="2023-03-27T15:10:45.404" v="1969" actId="207"/>
          <ac:spMkLst>
            <pc:docMk/>
            <pc:sldMk cId="1326631718" sldId="1791"/>
            <ac:spMk id="22" creationId="{DFD863EA-E59D-4F78-90CA-CD5E95768EAB}"/>
          </ac:spMkLst>
        </pc:spChg>
        <pc:spChg chg="mod">
          <ac:chgData name="Ogundairo, Sunmisola" userId="ca9d8627-40bc-4f68-b59e-d13554e1af79" providerId="ADAL" clId="{54C62467-273D-4DB3-B748-833FCF7E9C12}" dt="2023-03-27T15:10:45.404" v="1969" actId="207"/>
          <ac:spMkLst>
            <pc:docMk/>
            <pc:sldMk cId="1326631718" sldId="1791"/>
            <ac:spMk id="23" creationId="{03C4694B-1C87-4D3E-BB66-36646364B5A2}"/>
          </ac:spMkLst>
        </pc:spChg>
        <pc:spChg chg="mod">
          <ac:chgData name="Ogundairo, Sunmisola" userId="ca9d8627-40bc-4f68-b59e-d13554e1af79" providerId="ADAL" clId="{54C62467-273D-4DB3-B748-833FCF7E9C12}" dt="2023-03-27T15:10:45.404" v="1969" actId="207"/>
          <ac:spMkLst>
            <pc:docMk/>
            <pc:sldMk cId="1326631718" sldId="1791"/>
            <ac:spMk id="24" creationId="{25FFE8A2-0950-4FDB-940A-A39D71845B16}"/>
          </ac:spMkLst>
        </pc:spChg>
        <pc:spChg chg="add mod ord">
          <ac:chgData name="Ogundairo, Sunmisola" userId="ca9d8627-40bc-4f68-b59e-d13554e1af79" providerId="ADAL" clId="{54C62467-273D-4DB3-B748-833FCF7E9C12}" dt="2023-03-27T23:28:07.062" v="2734" actId="164"/>
          <ac:spMkLst>
            <pc:docMk/>
            <pc:sldMk cId="1326631718" sldId="1791"/>
            <ac:spMk id="29" creationId="{8EB1BFAE-ECB4-4797-A051-27DCA5EE3E23}"/>
          </ac:spMkLst>
        </pc:spChg>
        <pc:spChg chg="del">
          <ac:chgData name="Ogundairo, Sunmisola" userId="ca9d8627-40bc-4f68-b59e-d13554e1af79" providerId="ADAL" clId="{54C62467-273D-4DB3-B748-833FCF7E9C12}" dt="2023-03-27T14:59:30.432" v="1747" actId="478"/>
          <ac:spMkLst>
            <pc:docMk/>
            <pc:sldMk cId="1326631718" sldId="1791"/>
            <ac:spMk id="30" creationId="{89A24584-3B7D-4C7C-9394-196F14FC3F7A}"/>
          </ac:spMkLst>
        </pc:spChg>
        <pc:spChg chg="del">
          <ac:chgData name="Ogundairo, Sunmisola" userId="ca9d8627-40bc-4f68-b59e-d13554e1af79" providerId="ADAL" clId="{54C62467-273D-4DB3-B748-833FCF7E9C12}" dt="2023-03-27T14:59:38.025" v="1752" actId="478"/>
          <ac:spMkLst>
            <pc:docMk/>
            <pc:sldMk cId="1326631718" sldId="1791"/>
            <ac:spMk id="31" creationId="{04B2F302-8369-4A6D-B0C0-DD3D9FCE2C64}"/>
          </ac:spMkLst>
        </pc:spChg>
        <pc:spChg chg="del mod">
          <ac:chgData name="Ogundairo, Sunmisola" userId="ca9d8627-40bc-4f68-b59e-d13554e1af79" providerId="ADAL" clId="{54C62467-273D-4DB3-B748-833FCF7E9C12}" dt="2023-03-27T14:59:36.550" v="1751" actId="478"/>
          <ac:spMkLst>
            <pc:docMk/>
            <pc:sldMk cId="1326631718" sldId="1791"/>
            <ac:spMk id="33" creationId="{33D0F238-D4FD-4C3D-B2BC-06AD71530717}"/>
          </ac:spMkLst>
        </pc:spChg>
        <pc:spChg chg="del">
          <ac:chgData name="Ogundairo, Sunmisola" userId="ca9d8627-40bc-4f68-b59e-d13554e1af79" providerId="ADAL" clId="{54C62467-273D-4DB3-B748-833FCF7E9C12}" dt="2023-03-27T14:59:41.380" v="1753" actId="478"/>
          <ac:spMkLst>
            <pc:docMk/>
            <pc:sldMk cId="1326631718" sldId="1791"/>
            <ac:spMk id="34" creationId="{9D96D337-0722-49E5-81EE-860C1236EE7C}"/>
          </ac:spMkLst>
        </pc:spChg>
        <pc:spChg chg="del mod">
          <ac:chgData name="Ogundairo, Sunmisola" userId="ca9d8627-40bc-4f68-b59e-d13554e1af79" providerId="ADAL" clId="{54C62467-273D-4DB3-B748-833FCF7E9C12}" dt="2023-03-27T14:59:32.908" v="1749" actId="478"/>
          <ac:spMkLst>
            <pc:docMk/>
            <pc:sldMk cId="1326631718" sldId="1791"/>
            <ac:spMk id="35" creationId="{A50CCC2D-44EB-488A-971E-A9D951AEC6B2}"/>
          </ac:spMkLst>
        </pc:spChg>
        <pc:grpChg chg="add del mod">
          <ac:chgData name="Ogundairo, Sunmisola" userId="ca9d8627-40bc-4f68-b59e-d13554e1af79" providerId="ADAL" clId="{54C62467-273D-4DB3-B748-833FCF7E9C12}" dt="2023-03-27T23:18:00.224" v="2672" actId="478"/>
          <ac:grpSpMkLst>
            <pc:docMk/>
            <pc:sldMk cId="1326631718" sldId="1791"/>
            <ac:grpSpMk id="20" creationId="{9BD0A72A-C0E8-4A88-BC8B-D97F81571AAA}"/>
          </ac:grpSpMkLst>
        </pc:grpChg>
        <pc:grpChg chg="add mod">
          <ac:chgData name="Ogundairo, Sunmisola" userId="ca9d8627-40bc-4f68-b59e-d13554e1af79" providerId="ADAL" clId="{54C62467-273D-4DB3-B748-833FCF7E9C12}" dt="2023-03-27T23:28:07.062" v="2734" actId="164"/>
          <ac:grpSpMkLst>
            <pc:docMk/>
            <pc:sldMk cId="1326631718" sldId="1791"/>
            <ac:grpSpMk id="36" creationId="{DEAAD32F-DF98-44E9-B5CB-3F1F41E73002}"/>
          </ac:grpSpMkLst>
        </pc:grpChg>
        <pc:graphicFrameChg chg="add mod modGraphic">
          <ac:chgData name="Ogundairo, Sunmisola" userId="ca9d8627-40bc-4f68-b59e-d13554e1af79" providerId="ADAL" clId="{54C62467-273D-4DB3-B748-833FCF7E9C12}" dt="2023-03-27T23:40:07.754" v="3106" actId="20577"/>
          <ac:graphicFrameMkLst>
            <pc:docMk/>
            <pc:sldMk cId="1326631718" sldId="1791"/>
            <ac:graphicFrameMk id="25" creationId="{DC664B3E-D516-44B7-85D7-4D7684AB71AF}"/>
          </ac:graphicFrameMkLst>
        </pc:graphicFrameChg>
        <pc:graphicFrameChg chg="add del mod modGraphic">
          <ac:chgData name="Ogundairo, Sunmisola" userId="ca9d8627-40bc-4f68-b59e-d13554e1af79" providerId="ADAL" clId="{54C62467-273D-4DB3-B748-833FCF7E9C12}" dt="2023-03-27T22:32:47.290" v="2670" actId="478"/>
          <ac:graphicFrameMkLst>
            <pc:docMk/>
            <pc:sldMk cId="1326631718" sldId="1791"/>
            <ac:graphicFrameMk id="26" creationId="{51C188B4-D065-40EA-A660-15E083B2D622}"/>
          </ac:graphicFrameMkLst>
        </pc:graphicFrameChg>
        <pc:graphicFrameChg chg="add mod modGraphic">
          <ac:chgData name="Ogundairo, Sunmisola" userId="ca9d8627-40bc-4f68-b59e-d13554e1af79" providerId="ADAL" clId="{54C62467-273D-4DB3-B748-833FCF7E9C12}" dt="2023-03-27T23:36:04.689" v="2953" actId="1076"/>
          <ac:graphicFrameMkLst>
            <pc:docMk/>
            <pc:sldMk cId="1326631718" sldId="1791"/>
            <ac:graphicFrameMk id="27" creationId="{5CE9E9F4-8136-4708-B5E2-A059B5833CBF}"/>
          </ac:graphicFrameMkLst>
        </pc:graphicFrameChg>
        <pc:graphicFrameChg chg="add del mod modGraphic">
          <ac:chgData name="Ogundairo, Sunmisola" userId="ca9d8627-40bc-4f68-b59e-d13554e1af79" providerId="ADAL" clId="{54C62467-273D-4DB3-B748-833FCF7E9C12}" dt="2023-03-27T22:32:50.396" v="2671" actId="478"/>
          <ac:graphicFrameMkLst>
            <pc:docMk/>
            <pc:sldMk cId="1326631718" sldId="1791"/>
            <ac:graphicFrameMk id="28" creationId="{96C23EFC-00E4-4C47-A636-E87887BBB5DC}"/>
          </ac:graphicFrameMkLst>
        </pc:graphicFrameChg>
        <pc:picChg chg="add del">
          <ac:chgData name="Ogundairo, Sunmisola" userId="ca9d8627-40bc-4f68-b59e-d13554e1af79" providerId="ADAL" clId="{54C62467-273D-4DB3-B748-833FCF7E9C12}" dt="2023-03-27T22:32:30.612" v="2667" actId="478"/>
          <ac:picMkLst>
            <pc:docMk/>
            <pc:sldMk cId="1326631718" sldId="1791"/>
            <ac:picMk id="5" creationId="{67E48887-49A9-48D5-850B-63A38A5C4F2F}"/>
          </ac:picMkLst>
        </pc:picChg>
        <pc:picChg chg="add mod">
          <ac:chgData name="Ogundairo, Sunmisola" userId="ca9d8627-40bc-4f68-b59e-d13554e1af79" providerId="ADAL" clId="{54C62467-273D-4DB3-B748-833FCF7E9C12}" dt="2023-03-27T23:28:07.062" v="2734" actId="164"/>
          <ac:picMkLst>
            <pc:docMk/>
            <pc:sldMk cId="1326631718" sldId="1791"/>
            <ac:picMk id="7" creationId="{23950D60-DA33-433E-871B-43B0388E4BCA}"/>
          </ac:picMkLst>
        </pc:picChg>
        <pc:picChg chg="add mod">
          <ac:chgData name="Ogundairo, Sunmisola" userId="ca9d8627-40bc-4f68-b59e-d13554e1af79" providerId="ADAL" clId="{54C62467-273D-4DB3-B748-833FCF7E9C12}" dt="2023-03-27T23:28:07.062" v="2734" actId="164"/>
          <ac:picMkLst>
            <pc:docMk/>
            <pc:sldMk cId="1326631718" sldId="1791"/>
            <ac:picMk id="32" creationId="{E5020691-317F-4D97-BF08-C90A448D8D8A}"/>
          </ac:picMkLst>
        </pc:picChg>
      </pc:sldChg>
      <pc:sldChg chg="new del setBg">
        <pc:chgData name="Ogundairo, Sunmisola" userId="ca9d8627-40bc-4f68-b59e-d13554e1af79" providerId="ADAL" clId="{54C62467-273D-4DB3-B748-833FCF7E9C12}" dt="2023-03-27T14:29:35.870" v="511" actId="2696"/>
        <pc:sldMkLst>
          <pc:docMk/>
          <pc:sldMk cId="2046596684" sldId="1791"/>
        </pc:sldMkLst>
      </pc:sldChg>
      <pc:sldChg chg="addSp delSp modSp add mod">
        <pc:chgData name="Ogundairo, Sunmisola" userId="ca9d8627-40bc-4f68-b59e-d13554e1af79" providerId="ADAL" clId="{54C62467-273D-4DB3-B748-833FCF7E9C12}" dt="2023-03-27T23:43:17.060" v="3144" actId="1076"/>
        <pc:sldMkLst>
          <pc:docMk/>
          <pc:sldMk cId="2953990269" sldId="1792"/>
        </pc:sldMkLst>
        <pc:spChg chg="mod">
          <ac:chgData name="Ogundairo, Sunmisola" userId="ca9d8627-40bc-4f68-b59e-d13554e1af79" providerId="ADAL" clId="{54C62467-273D-4DB3-B748-833FCF7E9C12}" dt="2023-03-27T23:41:14.569" v="3127" actId="20577"/>
          <ac:spMkLst>
            <pc:docMk/>
            <pc:sldMk cId="2953990269" sldId="1792"/>
            <ac:spMk id="3" creationId="{00000000-0000-0000-0000-000000000000}"/>
          </ac:spMkLst>
        </pc:spChg>
        <pc:spChg chg="mod topLvl">
          <ac:chgData name="Ogundairo, Sunmisola" userId="ca9d8627-40bc-4f68-b59e-d13554e1af79" providerId="ADAL" clId="{54C62467-273D-4DB3-B748-833FCF7E9C12}" dt="2023-03-27T23:41:40.708" v="3128" actId="165"/>
          <ac:spMkLst>
            <pc:docMk/>
            <pc:sldMk cId="2953990269" sldId="1792"/>
            <ac:spMk id="29" creationId="{8EB1BFAE-ECB4-4797-A051-27DCA5EE3E23}"/>
          </ac:spMkLst>
        </pc:spChg>
        <pc:grpChg chg="del">
          <ac:chgData name="Ogundairo, Sunmisola" userId="ca9d8627-40bc-4f68-b59e-d13554e1af79" providerId="ADAL" clId="{54C62467-273D-4DB3-B748-833FCF7E9C12}" dt="2023-03-27T23:41:40.708" v="3128" actId="165"/>
          <ac:grpSpMkLst>
            <pc:docMk/>
            <pc:sldMk cId="2953990269" sldId="1792"/>
            <ac:grpSpMk id="36" creationId="{DEAAD32F-DF98-44E9-B5CB-3F1F41E73002}"/>
          </ac:grpSpMkLst>
        </pc:grpChg>
        <pc:picChg chg="add del mod">
          <ac:chgData name="Ogundairo, Sunmisola" userId="ca9d8627-40bc-4f68-b59e-d13554e1af79" providerId="ADAL" clId="{54C62467-273D-4DB3-B748-833FCF7E9C12}" dt="2023-03-27T23:43:08.439" v="3142" actId="478"/>
          <ac:picMkLst>
            <pc:docMk/>
            <pc:sldMk cId="2953990269" sldId="1792"/>
            <ac:picMk id="5" creationId="{4EEF73F4-2D72-48CE-BF17-B2C6805F7054}"/>
          </ac:picMkLst>
        </pc:picChg>
        <pc:picChg chg="mod topLvl">
          <ac:chgData name="Ogundairo, Sunmisola" userId="ca9d8627-40bc-4f68-b59e-d13554e1af79" providerId="ADAL" clId="{54C62467-273D-4DB3-B748-833FCF7E9C12}" dt="2023-03-27T23:41:40.708" v="3128" actId="165"/>
          <ac:picMkLst>
            <pc:docMk/>
            <pc:sldMk cId="2953990269" sldId="1792"/>
            <ac:picMk id="7" creationId="{23950D60-DA33-433E-871B-43B0388E4BCA}"/>
          </ac:picMkLst>
        </pc:picChg>
        <pc:picChg chg="add mod">
          <ac:chgData name="Ogundairo, Sunmisola" userId="ca9d8627-40bc-4f68-b59e-d13554e1af79" providerId="ADAL" clId="{54C62467-273D-4DB3-B748-833FCF7E9C12}" dt="2023-03-27T23:43:17.060" v="3144" actId="1076"/>
          <ac:picMkLst>
            <pc:docMk/>
            <pc:sldMk cId="2953990269" sldId="1792"/>
            <ac:picMk id="8" creationId="{1B670DEC-C3F2-42B3-BBFA-9E0E211A812C}"/>
          </ac:picMkLst>
        </pc:picChg>
        <pc:picChg chg="del mod topLvl">
          <ac:chgData name="Ogundairo, Sunmisola" userId="ca9d8627-40bc-4f68-b59e-d13554e1af79" providerId="ADAL" clId="{54C62467-273D-4DB3-B748-833FCF7E9C12}" dt="2023-03-27T23:41:45.522" v="3129" actId="478"/>
          <ac:picMkLst>
            <pc:docMk/>
            <pc:sldMk cId="2953990269" sldId="1792"/>
            <ac:picMk id="32" creationId="{E5020691-317F-4D97-BF08-C90A448D8D8A}"/>
          </ac:picMkLst>
        </pc:picChg>
      </pc:sldChg>
      <pc:sldChg chg="new del">
        <pc:chgData name="Ogundairo, Sunmisola" userId="ca9d8627-40bc-4f68-b59e-d13554e1af79" providerId="ADAL" clId="{54C62467-273D-4DB3-B748-833FCF7E9C12}" dt="2023-03-27T14:29:31.821" v="510" actId="2696"/>
        <pc:sldMkLst>
          <pc:docMk/>
          <pc:sldMk cId="3481354475" sldId="1792"/>
        </pc:sldMkLst>
      </pc:sldChg>
      <pc:sldChg chg="delSp add del mod setBg">
        <pc:chgData name="Ogundairo, Sunmisola" userId="ca9d8627-40bc-4f68-b59e-d13554e1af79" providerId="ADAL" clId="{54C62467-273D-4DB3-B748-833FCF7E9C12}" dt="2023-03-27T14:09:45.768" v="149" actId="47"/>
        <pc:sldMkLst>
          <pc:docMk/>
          <pc:sldMk cId="2323231715" sldId="2147471323"/>
        </pc:sldMkLst>
        <pc:grpChg chg="del">
          <ac:chgData name="Ogundairo, Sunmisola" userId="ca9d8627-40bc-4f68-b59e-d13554e1af79" providerId="ADAL" clId="{54C62467-273D-4DB3-B748-833FCF7E9C12}" dt="2023-03-27T14:07:15.214" v="116" actId="478"/>
          <ac:grpSpMkLst>
            <pc:docMk/>
            <pc:sldMk cId="2323231715" sldId="2147471323"/>
            <ac:grpSpMk id="14" creationId="{1FA276C5-6581-43BF-84E9-9F44E02499C6}"/>
          </ac:grpSpMkLst>
        </pc:grpChg>
      </pc:sldChg>
      <pc:sldChg chg="new del">
        <pc:chgData name="Ogundairo, Sunmisola" userId="ca9d8627-40bc-4f68-b59e-d13554e1af79" providerId="ADAL" clId="{54C62467-273D-4DB3-B748-833FCF7E9C12}" dt="2023-03-27T14:09:23.888" v="147" actId="47"/>
        <pc:sldMkLst>
          <pc:docMk/>
          <pc:sldMk cId="2703650676" sldId="2147471324"/>
        </pc:sldMkLst>
      </pc:sldChg>
    </pc:docChg>
  </pc:docChgLst>
  <pc:docChgLst>
    <pc:chgData name="Ogundairo, Sunmisola" userId="ca9d8627-40bc-4f68-b59e-d13554e1af79" providerId="ADAL" clId="{EBDB7F11-A6B6-4089-9396-A9E55F1D6E6F}"/>
    <pc:docChg chg="undo redo custSel addSld delSld modSld sldOrd addSection modSection">
      <pc:chgData name="Ogundairo, Sunmisola" userId="ca9d8627-40bc-4f68-b59e-d13554e1af79" providerId="ADAL" clId="{EBDB7F11-A6B6-4089-9396-A9E55F1D6E6F}" dt="2023-04-05T22:13:22.846" v="7906"/>
      <pc:docMkLst>
        <pc:docMk/>
      </pc:docMkLst>
      <pc:sldChg chg="modSp add mod ord setBg">
        <pc:chgData name="Ogundairo, Sunmisola" userId="ca9d8627-40bc-4f68-b59e-d13554e1af79" providerId="ADAL" clId="{EBDB7F11-A6B6-4089-9396-A9E55F1D6E6F}" dt="2023-03-31T01:14:16.082" v="6000" actId="20577"/>
        <pc:sldMkLst>
          <pc:docMk/>
          <pc:sldMk cId="4246585081" sldId="272"/>
        </pc:sldMkLst>
        <pc:spChg chg="mod">
          <ac:chgData name="Ogundairo, Sunmisola" userId="ca9d8627-40bc-4f68-b59e-d13554e1af79" providerId="ADAL" clId="{EBDB7F11-A6B6-4089-9396-A9E55F1D6E6F}" dt="2023-03-31T01:12:54.452" v="5985" actId="113"/>
          <ac:spMkLst>
            <pc:docMk/>
            <pc:sldMk cId="4246585081" sldId="272"/>
            <ac:spMk id="7" creationId="{F67D2192-777B-9743-B5F6-01BFE77BB7EA}"/>
          </ac:spMkLst>
        </pc:spChg>
        <pc:spChg chg="mod">
          <ac:chgData name="Ogundairo, Sunmisola" userId="ca9d8627-40bc-4f68-b59e-d13554e1af79" providerId="ADAL" clId="{EBDB7F11-A6B6-4089-9396-A9E55F1D6E6F}" dt="2023-03-31T01:14:16.082" v="6000" actId="20577"/>
          <ac:spMkLst>
            <pc:docMk/>
            <pc:sldMk cId="4246585081" sldId="272"/>
            <ac:spMk id="12" creationId="{00000000-0000-0000-0000-000000000000}"/>
          </ac:spMkLst>
        </pc:spChg>
        <pc:spChg chg="mod">
          <ac:chgData name="Ogundairo, Sunmisola" userId="ca9d8627-40bc-4f68-b59e-d13554e1af79" providerId="ADAL" clId="{EBDB7F11-A6B6-4089-9396-A9E55F1D6E6F}" dt="2023-03-30T20:28:10.194" v="5765" actId="20577"/>
          <ac:spMkLst>
            <pc:docMk/>
            <pc:sldMk cId="4246585081" sldId="272"/>
            <ac:spMk id="67" creationId="{00000000-0000-0000-0000-000000000000}"/>
          </ac:spMkLst>
        </pc:spChg>
        <pc:spChg chg="mod">
          <ac:chgData name="Ogundairo, Sunmisola" userId="ca9d8627-40bc-4f68-b59e-d13554e1af79" providerId="ADAL" clId="{EBDB7F11-A6B6-4089-9396-A9E55F1D6E6F}" dt="2023-03-30T20:29:40.071" v="5851" actId="20577"/>
          <ac:spMkLst>
            <pc:docMk/>
            <pc:sldMk cId="4246585081" sldId="272"/>
            <ac:spMk id="74" creationId="{00000000-0000-0000-0000-000000000000}"/>
          </ac:spMkLst>
        </pc:spChg>
        <pc:spChg chg="mod">
          <ac:chgData name="Ogundairo, Sunmisola" userId="ca9d8627-40bc-4f68-b59e-d13554e1af79" providerId="ADAL" clId="{EBDB7F11-A6B6-4089-9396-A9E55F1D6E6F}" dt="2023-03-30T20:28:26.444" v="5789" actId="20577"/>
          <ac:spMkLst>
            <pc:docMk/>
            <pc:sldMk cId="4246585081" sldId="272"/>
            <ac:spMk id="79" creationId="{00000000-0000-0000-0000-000000000000}"/>
          </ac:spMkLst>
        </pc:spChg>
        <pc:spChg chg="mod">
          <ac:chgData name="Ogundairo, Sunmisola" userId="ca9d8627-40bc-4f68-b59e-d13554e1af79" providerId="ADAL" clId="{EBDB7F11-A6B6-4089-9396-A9E55F1D6E6F}" dt="2023-03-31T01:08:59.357" v="5925" actId="20577"/>
          <ac:spMkLst>
            <pc:docMk/>
            <pc:sldMk cId="4246585081" sldId="272"/>
            <ac:spMk id="84" creationId="{00000000-0000-0000-0000-000000000000}"/>
          </ac:spMkLst>
        </pc:spChg>
        <pc:spChg chg="mod">
          <ac:chgData name="Ogundairo, Sunmisola" userId="ca9d8627-40bc-4f68-b59e-d13554e1af79" providerId="ADAL" clId="{EBDB7F11-A6B6-4089-9396-A9E55F1D6E6F}" dt="2023-03-31T01:10:09.183" v="5941" actId="20577"/>
          <ac:spMkLst>
            <pc:docMk/>
            <pc:sldMk cId="4246585081" sldId="272"/>
            <ac:spMk id="89" creationId="{00000000-0000-0000-0000-000000000000}"/>
          </ac:spMkLst>
        </pc:spChg>
        <pc:spChg chg="mod">
          <ac:chgData name="Ogundairo, Sunmisola" userId="ca9d8627-40bc-4f68-b59e-d13554e1af79" providerId="ADAL" clId="{EBDB7F11-A6B6-4089-9396-A9E55F1D6E6F}" dt="2023-03-31T01:10:54.625" v="5984" actId="20577"/>
          <ac:spMkLst>
            <pc:docMk/>
            <pc:sldMk cId="4246585081" sldId="272"/>
            <ac:spMk id="94" creationId="{00000000-0000-0000-0000-000000000000}"/>
          </ac:spMkLst>
        </pc:spChg>
      </pc:sldChg>
      <pc:sldChg chg="addSp delSp modSp add del mod">
        <pc:chgData name="Ogundairo, Sunmisola" userId="ca9d8627-40bc-4f68-b59e-d13554e1af79" providerId="ADAL" clId="{EBDB7F11-A6B6-4089-9396-A9E55F1D6E6F}" dt="2023-03-28T23:01:11.933" v="3366" actId="2696"/>
        <pc:sldMkLst>
          <pc:docMk/>
          <pc:sldMk cId="246675045" sldId="480"/>
        </pc:sldMkLst>
        <pc:spChg chg="del">
          <ac:chgData name="Ogundairo, Sunmisola" userId="ca9d8627-40bc-4f68-b59e-d13554e1af79" providerId="ADAL" clId="{EBDB7F11-A6B6-4089-9396-A9E55F1D6E6F}" dt="2023-03-28T20:44:31.612" v="2350" actId="478"/>
          <ac:spMkLst>
            <pc:docMk/>
            <pc:sldMk cId="246675045" sldId="480"/>
            <ac:spMk id="3" creationId="{00000000-0000-0000-0000-000000000000}"/>
          </ac:spMkLst>
        </pc:spChg>
        <pc:spChg chg="add mod">
          <ac:chgData name="Ogundairo, Sunmisola" userId="ca9d8627-40bc-4f68-b59e-d13554e1af79" providerId="ADAL" clId="{EBDB7F11-A6B6-4089-9396-A9E55F1D6E6F}" dt="2023-03-28T20:44:45.558" v="2353" actId="14100"/>
          <ac:spMkLst>
            <pc:docMk/>
            <pc:sldMk cId="246675045" sldId="480"/>
            <ac:spMk id="11" creationId="{336B4FFB-E58E-48C9-A021-CD88050B5139}"/>
          </ac:spMkLst>
        </pc:spChg>
        <pc:spChg chg="add del mod">
          <ac:chgData name="Ogundairo, Sunmisola" userId="ca9d8627-40bc-4f68-b59e-d13554e1af79" providerId="ADAL" clId="{EBDB7F11-A6B6-4089-9396-A9E55F1D6E6F}" dt="2023-03-28T20:44:35.538" v="2351" actId="478"/>
          <ac:spMkLst>
            <pc:docMk/>
            <pc:sldMk cId="246675045" sldId="480"/>
            <ac:spMk id="13" creationId="{67485F58-46DA-41FA-841A-6B0E72EE5725}"/>
          </ac:spMkLst>
        </pc:spChg>
        <pc:spChg chg="del">
          <ac:chgData name="Ogundairo, Sunmisola" userId="ca9d8627-40bc-4f68-b59e-d13554e1af79" providerId="ADAL" clId="{EBDB7F11-A6B6-4089-9396-A9E55F1D6E6F}" dt="2023-03-28T20:44:21.112" v="2348" actId="478"/>
          <ac:spMkLst>
            <pc:docMk/>
            <pc:sldMk cId="246675045" sldId="480"/>
            <ac:spMk id="18" creationId="{00000000-0000-0000-0000-000000000000}"/>
          </ac:spMkLst>
        </pc:spChg>
        <pc:spChg chg="mod">
          <ac:chgData name="Ogundairo, Sunmisola" userId="ca9d8627-40bc-4f68-b59e-d13554e1af79" providerId="ADAL" clId="{EBDB7F11-A6B6-4089-9396-A9E55F1D6E6F}" dt="2023-03-28T20:44:45.558" v="2353" actId="14100"/>
          <ac:spMkLst>
            <pc:docMk/>
            <pc:sldMk cId="246675045" sldId="480"/>
            <ac:spMk id="22" creationId="{B507F7A2-81E9-4B46-8C17-DDC097F940DA}"/>
          </ac:spMkLst>
        </pc:spChg>
        <pc:spChg chg="mod">
          <ac:chgData name="Ogundairo, Sunmisola" userId="ca9d8627-40bc-4f68-b59e-d13554e1af79" providerId="ADAL" clId="{EBDB7F11-A6B6-4089-9396-A9E55F1D6E6F}" dt="2023-03-28T20:44:45.558" v="2353" actId="14100"/>
          <ac:spMkLst>
            <pc:docMk/>
            <pc:sldMk cId="246675045" sldId="480"/>
            <ac:spMk id="28" creationId="{39337A69-760F-41BB-BE66-47444810DEBF}"/>
          </ac:spMkLst>
        </pc:spChg>
        <pc:spChg chg="mod">
          <ac:chgData name="Ogundairo, Sunmisola" userId="ca9d8627-40bc-4f68-b59e-d13554e1af79" providerId="ADAL" clId="{EBDB7F11-A6B6-4089-9396-A9E55F1D6E6F}" dt="2023-03-28T20:44:45.558" v="2353" actId="14100"/>
          <ac:spMkLst>
            <pc:docMk/>
            <pc:sldMk cId="246675045" sldId="480"/>
            <ac:spMk id="29" creationId="{EC8CC30E-9AD8-490B-9636-E9539C23243C}"/>
          </ac:spMkLst>
        </pc:spChg>
        <pc:spChg chg="mod">
          <ac:chgData name="Ogundairo, Sunmisola" userId="ca9d8627-40bc-4f68-b59e-d13554e1af79" providerId="ADAL" clId="{EBDB7F11-A6B6-4089-9396-A9E55F1D6E6F}" dt="2023-03-28T20:44:45.558" v="2353" actId="14100"/>
          <ac:spMkLst>
            <pc:docMk/>
            <pc:sldMk cId="246675045" sldId="480"/>
            <ac:spMk id="30" creationId="{BB745285-E09F-46D6-96E2-7C9B4A0755A9}"/>
          </ac:spMkLst>
        </pc:spChg>
        <pc:spChg chg="mod">
          <ac:chgData name="Ogundairo, Sunmisola" userId="ca9d8627-40bc-4f68-b59e-d13554e1af79" providerId="ADAL" clId="{EBDB7F11-A6B6-4089-9396-A9E55F1D6E6F}" dt="2023-03-28T20:44:45.558" v="2353" actId="14100"/>
          <ac:spMkLst>
            <pc:docMk/>
            <pc:sldMk cId="246675045" sldId="480"/>
            <ac:spMk id="31" creationId="{8E3BD99D-3D9F-4874-9400-9D6A37A95FB2}"/>
          </ac:spMkLst>
        </pc:spChg>
        <pc:spChg chg="mod">
          <ac:chgData name="Ogundairo, Sunmisola" userId="ca9d8627-40bc-4f68-b59e-d13554e1af79" providerId="ADAL" clId="{EBDB7F11-A6B6-4089-9396-A9E55F1D6E6F}" dt="2023-03-28T20:44:45.558" v="2353" actId="14100"/>
          <ac:spMkLst>
            <pc:docMk/>
            <pc:sldMk cId="246675045" sldId="480"/>
            <ac:spMk id="32" creationId="{51552C05-8123-4EB9-96CF-1AF187750FA5}"/>
          </ac:spMkLst>
        </pc:spChg>
        <pc:spChg chg="mod">
          <ac:chgData name="Ogundairo, Sunmisola" userId="ca9d8627-40bc-4f68-b59e-d13554e1af79" providerId="ADAL" clId="{EBDB7F11-A6B6-4089-9396-A9E55F1D6E6F}" dt="2023-03-28T20:44:45.558" v="2353" actId="14100"/>
          <ac:spMkLst>
            <pc:docMk/>
            <pc:sldMk cId="246675045" sldId="480"/>
            <ac:spMk id="33" creationId="{2D9465BD-C54D-4C24-993D-41F09519F634}"/>
          </ac:spMkLst>
        </pc:spChg>
        <pc:spChg chg="mod">
          <ac:chgData name="Ogundairo, Sunmisola" userId="ca9d8627-40bc-4f68-b59e-d13554e1af79" providerId="ADAL" clId="{EBDB7F11-A6B6-4089-9396-A9E55F1D6E6F}" dt="2023-03-28T20:44:45.558" v="2353" actId="14100"/>
          <ac:spMkLst>
            <pc:docMk/>
            <pc:sldMk cId="246675045" sldId="480"/>
            <ac:spMk id="34" creationId="{F33534E6-61DF-4C9B-BE59-32AAA03C4D3A}"/>
          </ac:spMkLst>
        </pc:spChg>
        <pc:spChg chg="mod">
          <ac:chgData name="Ogundairo, Sunmisola" userId="ca9d8627-40bc-4f68-b59e-d13554e1af79" providerId="ADAL" clId="{EBDB7F11-A6B6-4089-9396-A9E55F1D6E6F}" dt="2023-03-28T20:44:45.558" v="2353" actId="14100"/>
          <ac:spMkLst>
            <pc:docMk/>
            <pc:sldMk cId="246675045" sldId="480"/>
            <ac:spMk id="35" creationId="{B207A208-F3F5-4C20-99CA-6E22E6DABDFA}"/>
          </ac:spMkLst>
        </pc:spChg>
        <pc:spChg chg="mod">
          <ac:chgData name="Ogundairo, Sunmisola" userId="ca9d8627-40bc-4f68-b59e-d13554e1af79" providerId="ADAL" clId="{EBDB7F11-A6B6-4089-9396-A9E55F1D6E6F}" dt="2023-03-28T20:44:26.176" v="2349" actId="313"/>
          <ac:spMkLst>
            <pc:docMk/>
            <pc:sldMk cId="246675045" sldId="480"/>
            <ac:spMk id="610305" creationId="{00000000-0000-0000-0000-000000000000}"/>
          </ac:spMkLst>
        </pc:spChg>
        <pc:cxnChg chg="mod">
          <ac:chgData name="Ogundairo, Sunmisola" userId="ca9d8627-40bc-4f68-b59e-d13554e1af79" providerId="ADAL" clId="{EBDB7F11-A6B6-4089-9396-A9E55F1D6E6F}" dt="2023-03-28T20:44:45.558" v="2353" actId="14100"/>
          <ac:cxnSpMkLst>
            <pc:docMk/>
            <pc:sldMk cId="246675045" sldId="480"/>
            <ac:cxnSpMk id="24" creationId="{7DA44499-6E84-4F07-BC49-E4D739C51FA0}"/>
          </ac:cxnSpMkLst>
        </pc:cxnChg>
        <pc:cxnChg chg="mod">
          <ac:chgData name="Ogundairo, Sunmisola" userId="ca9d8627-40bc-4f68-b59e-d13554e1af79" providerId="ADAL" clId="{EBDB7F11-A6B6-4089-9396-A9E55F1D6E6F}" dt="2023-03-28T20:44:45.558" v="2353" actId="14100"/>
          <ac:cxnSpMkLst>
            <pc:docMk/>
            <pc:sldMk cId="246675045" sldId="480"/>
            <ac:cxnSpMk id="25" creationId="{65AF2419-EED0-4AE7-B697-36CB33B2332A}"/>
          </ac:cxnSpMkLst>
        </pc:cxnChg>
        <pc:cxnChg chg="mod">
          <ac:chgData name="Ogundairo, Sunmisola" userId="ca9d8627-40bc-4f68-b59e-d13554e1af79" providerId="ADAL" clId="{EBDB7F11-A6B6-4089-9396-A9E55F1D6E6F}" dt="2023-03-28T20:44:45.558" v="2353" actId="14100"/>
          <ac:cxnSpMkLst>
            <pc:docMk/>
            <pc:sldMk cId="246675045" sldId="480"/>
            <ac:cxnSpMk id="26" creationId="{9E54E4B5-0986-4CF8-A953-F6E2064694A3}"/>
          </ac:cxnSpMkLst>
        </pc:cxnChg>
        <pc:cxnChg chg="mod">
          <ac:chgData name="Ogundairo, Sunmisola" userId="ca9d8627-40bc-4f68-b59e-d13554e1af79" providerId="ADAL" clId="{EBDB7F11-A6B6-4089-9396-A9E55F1D6E6F}" dt="2023-03-28T20:44:45.558" v="2353" actId="14100"/>
          <ac:cxnSpMkLst>
            <pc:docMk/>
            <pc:sldMk cId="246675045" sldId="480"/>
            <ac:cxnSpMk id="27" creationId="{CFCDCA50-BD6D-43DC-9DB2-D6108932DFA4}"/>
          </ac:cxnSpMkLst>
        </pc:cxnChg>
      </pc:sldChg>
      <pc:sldChg chg="addSp delSp modSp add mod setBg modNotes modNotesTx">
        <pc:chgData name="Ogundairo, Sunmisola" userId="ca9d8627-40bc-4f68-b59e-d13554e1af79" providerId="ADAL" clId="{EBDB7F11-A6B6-4089-9396-A9E55F1D6E6F}" dt="2023-04-05T14:02:25.525" v="7881" actId="20577"/>
        <pc:sldMkLst>
          <pc:docMk/>
          <pc:sldMk cId="2596703081" sldId="535"/>
        </pc:sldMkLst>
        <pc:spChg chg="mod">
          <ac:chgData name="Ogundairo, Sunmisola" userId="ca9d8627-40bc-4f68-b59e-d13554e1af79" providerId="ADAL" clId="{EBDB7F11-A6B6-4089-9396-A9E55F1D6E6F}" dt="2023-03-29T18:54:06.417" v="3611" actId="113"/>
          <ac:spMkLst>
            <pc:docMk/>
            <pc:sldMk cId="2596703081" sldId="535"/>
            <ac:spMk id="2" creationId="{00000000-0000-0000-0000-000000000000}"/>
          </ac:spMkLst>
        </pc:spChg>
        <pc:spChg chg="mod">
          <ac:chgData name="Ogundairo, Sunmisola" userId="ca9d8627-40bc-4f68-b59e-d13554e1af79" providerId="ADAL" clId="{EBDB7F11-A6B6-4089-9396-A9E55F1D6E6F}" dt="2023-03-31T01:39:00.926" v="6057" actId="255"/>
          <ac:spMkLst>
            <pc:docMk/>
            <pc:sldMk cId="2596703081" sldId="535"/>
            <ac:spMk id="5" creationId="{00000000-0000-0000-0000-000000000000}"/>
          </ac:spMkLst>
        </pc:spChg>
        <pc:spChg chg="add del mod">
          <ac:chgData name="Ogundairo, Sunmisola" userId="ca9d8627-40bc-4f68-b59e-d13554e1af79" providerId="ADAL" clId="{EBDB7F11-A6B6-4089-9396-A9E55F1D6E6F}" dt="2023-03-28T15:24:42.975" v="13" actId="478"/>
          <ac:spMkLst>
            <pc:docMk/>
            <pc:sldMk cId="2596703081" sldId="535"/>
            <ac:spMk id="6" creationId="{7A783246-5F9E-4025-BD62-87A1792B3F40}"/>
          </ac:spMkLst>
        </pc:spChg>
        <pc:spChg chg="add mod">
          <ac:chgData name="Ogundairo, Sunmisola" userId="ca9d8627-40bc-4f68-b59e-d13554e1af79" providerId="ADAL" clId="{EBDB7F11-A6B6-4089-9396-A9E55F1D6E6F}" dt="2023-03-29T18:56:32.108" v="3767" actId="20577"/>
          <ac:spMkLst>
            <pc:docMk/>
            <pc:sldMk cId="2596703081" sldId="535"/>
            <ac:spMk id="8" creationId="{C0859A5B-8CDD-4C0A-BDD1-0F84AAC28343}"/>
          </ac:spMkLst>
        </pc:spChg>
        <pc:spChg chg="del mod">
          <ac:chgData name="Ogundairo, Sunmisola" userId="ca9d8627-40bc-4f68-b59e-d13554e1af79" providerId="ADAL" clId="{EBDB7F11-A6B6-4089-9396-A9E55F1D6E6F}" dt="2023-03-28T15:26:04.682" v="72" actId="478"/>
          <ac:spMkLst>
            <pc:docMk/>
            <pc:sldMk cId="2596703081" sldId="535"/>
            <ac:spMk id="10" creationId="{00000000-0000-0000-0000-000000000000}"/>
          </ac:spMkLst>
        </pc:spChg>
        <pc:spChg chg="mod">
          <ac:chgData name="Ogundairo, Sunmisola" userId="ca9d8627-40bc-4f68-b59e-d13554e1af79" providerId="ADAL" clId="{EBDB7F11-A6B6-4089-9396-A9E55F1D6E6F}" dt="2023-04-05T14:02:25.525" v="7881" actId="20577"/>
          <ac:spMkLst>
            <pc:docMk/>
            <pc:sldMk cId="2596703081" sldId="535"/>
            <ac:spMk id="17" creationId="{00000000-0000-0000-0000-000000000000}"/>
          </ac:spMkLst>
        </pc:spChg>
        <pc:graphicFrameChg chg="del">
          <ac:chgData name="Ogundairo, Sunmisola" userId="ca9d8627-40bc-4f68-b59e-d13554e1af79" providerId="ADAL" clId="{EBDB7F11-A6B6-4089-9396-A9E55F1D6E6F}" dt="2023-03-28T15:24:16.310" v="6" actId="478"/>
          <ac:graphicFrameMkLst>
            <pc:docMk/>
            <pc:sldMk cId="2596703081" sldId="535"/>
            <ac:graphicFrameMk id="15" creationId="{00000000-0000-0000-0000-000000000000}"/>
          </ac:graphicFrameMkLst>
        </pc:graphicFrameChg>
        <pc:picChg chg="add mod">
          <ac:chgData name="Ogundairo, Sunmisola" userId="ca9d8627-40bc-4f68-b59e-d13554e1af79" providerId="ADAL" clId="{EBDB7F11-A6B6-4089-9396-A9E55F1D6E6F}" dt="2023-04-05T00:02:00.207" v="7872" actId="1076"/>
          <ac:picMkLst>
            <pc:docMk/>
            <pc:sldMk cId="2596703081" sldId="535"/>
            <ac:picMk id="6" creationId="{908CEB72-DB3F-4572-90A0-669398120095}"/>
          </ac:picMkLst>
        </pc:picChg>
        <pc:picChg chg="add del mod">
          <ac:chgData name="Ogundairo, Sunmisola" userId="ca9d8627-40bc-4f68-b59e-d13554e1af79" providerId="ADAL" clId="{EBDB7F11-A6B6-4089-9396-A9E55F1D6E6F}" dt="2023-03-31T14:07:59.887" v="7742" actId="478"/>
          <ac:picMkLst>
            <pc:docMk/>
            <pc:sldMk cId="2596703081" sldId="535"/>
            <ac:picMk id="11" creationId="{163BDB61-5887-45A6-ABC8-60AEAD0CC161}"/>
          </ac:picMkLst>
        </pc:picChg>
        <pc:picChg chg="add mod">
          <ac:chgData name="Ogundairo, Sunmisola" userId="ca9d8627-40bc-4f68-b59e-d13554e1af79" providerId="ADAL" clId="{EBDB7F11-A6B6-4089-9396-A9E55F1D6E6F}" dt="2023-03-28T16:18:30.815" v="512" actId="1076"/>
          <ac:picMkLst>
            <pc:docMk/>
            <pc:sldMk cId="2596703081" sldId="535"/>
            <ac:picMk id="12" creationId="{D21821B7-3A43-44AC-909C-1C5C6EF49A96}"/>
          </ac:picMkLst>
        </pc:picChg>
      </pc:sldChg>
      <pc:sldChg chg="addSp delSp modSp add mod ord setBg modNotes">
        <pc:chgData name="Ogundairo, Sunmisola" userId="ca9d8627-40bc-4f68-b59e-d13554e1af79" providerId="ADAL" clId="{EBDB7F11-A6B6-4089-9396-A9E55F1D6E6F}" dt="2023-04-05T22:00:58.327" v="7904" actId="1076"/>
        <pc:sldMkLst>
          <pc:docMk/>
          <pc:sldMk cId="3748179659" sldId="548"/>
        </pc:sldMkLst>
        <pc:spChg chg="mod">
          <ac:chgData name="Ogundairo, Sunmisola" userId="ca9d8627-40bc-4f68-b59e-d13554e1af79" providerId="ADAL" clId="{EBDB7F11-A6B6-4089-9396-A9E55F1D6E6F}" dt="2023-03-29T19:01:25.487" v="3844" actId="113"/>
          <ac:spMkLst>
            <pc:docMk/>
            <pc:sldMk cId="3748179659" sldId="548"/>
            <ac:spMk id="2" creationId="{00000000-0000-0000-0000-000000000000}"/>
          </ac:spMkLst>
        </pc:spChg>
        <pc:spChg chg="mod">
          <ac:chgData name="Ogundairo, Sunmisola" userId="ca9d8627-40bc-4f68-b59e-d13554e1af79" providerId="ADAL" clId="{EBDB7F11-A6B6-4089-9396-A9E55F1D6E6F}" dt="2023-03-31T01:39:29.962" v="6060" actId="1076"/>
          <ac:spMkLst>
            <pc:docMk/>
            <pc:sldMk cId="3748179659" sldId="548"/>
            <ac:spMk id="3" creationId="{00000000-0000-0000-0000-000000000000}"/>
          </ac:spMkLst>
        </pc:spChg>
        <pc:spChg chg="del mod">
          <ac:chgData name="Ogundairo, Sunmisola" userId="ca9d8627-40bc-4f68-b59e-d13554e1af79" providerId="ADAL" clId="{EBDB7F11-A6B6-4089-9396-A9E55F1D6E6F}" dt="2023-03-28T16:49:30.135" v="655" actId="478"/>
          <ac:spMkLst>
            <pc:docMk/>
            <pc:sldMk cId="3748179659" sldId="548"/>
            <ac:spMk id="5" creationId="{00000000-0000-0000-0000-000000000000}"/>
          </ac:spMkLst>
        </pc:spChg>
        <pc:spChg chg="add del mod">
          <ac:chgData name="Ogundairo, Sunmisola" userId="ca9d8627-40bc-4f68-b59e-d13554e1af79" providerId="ADAL" clId="{EBDB7F11-A6B6-4089-9396-A9E55F1D6E6F}" dt="2023-03-28T16:48:41.125" v="650" actId="478"/>
          <ac:spMkLst>
            <pc:docMk/>
            <pc:sldMk cId="3748179659" sldId="548"/>
            <ac:spMk id="6" creationId="{10CCCA2E-C179-40D4-9D1A-FC755A38E417}"/>
          </ac:spMkLst>
        </pc:spChg>
        <pc:spChg chg="add mod">
          <ac:chgData name="Ogundairo, Sunmisola" userId="ca9d8627-40bc-4f68-b59e-d13554e1af79" providerId="ADAL" clId="{EBDB7F11-A6B6-4089-9396-A9E55F1D6E6F}" dt="2023-03-29T19:01:13.514" v="3843" actId="20577"/>
          <ac:spMkLst>
            <pc:docMk/>
            <pc:sldMk cId="3748179659" sldId="548"/>
            <ac:spMk id="9" creationId="{26E5B06C-30B6-4735-85A4-2B742DA976A8}"/>
          </ac:spMkLst>
        </pc:spChg>
        <pc:spChg chg="add del mod">
          <ac:chgData name="Ogundairo, Sunmisola" userId="ca9d8627-40bc-4f68-b59e-d13554e1af79" providerId="ADAL" clId="{EBDB7F11-A6B6-4089-9396-A9E55F1D6E6F}" dt="2023-03-28T16:49:31.326" v="656" actId="478"/>
          <ac:spMkLst>
            <pc:docMk/>
            <pc:sldMk cId="3748179659" sldId="548"/>
            <ac:spMk id="10" creationId="{8CCBF7F3-8C00-48FC-B1F2-0F9AB47DD815}"/>
          </ac:spMkLst>
        </pc:spChg>
        <pc:spChg chg="add del mod">
          <ac:chgData name="Ogundairo, Sunmisola" userId="ca9d8627-40bc-4f68-b59e-d13554e1af79" providerId="ADAL" clId="{EBDB7F11-A6B6-4089-9396-A9E55F1D6E6F}" dt="2023-03-28T16:50:15.342" v="659" actId="478"/>
          <ac:spMkLst>
            <pc:docMk/>
            <pc:sldMk cId="3748179659" sldId="548"/>
            <ac:spMk id="12" creationId="{B7DADC17-CA09-40EE-8876-0036D1DEF0AE}"/>
          </ac:spMkLst>
        </pc:spChg>
        <pc:spChg chg="del mod">
          <ac:chgData name="Ogundairo, Sunmisola" userId="ca9d8627-40bc-4f68-b59e-d13554e1af79" providerId="ADAL" clId="{EBDB7F11-A6B6-4089-9396-A9E55F1D6E6F}" dt="2023-03-28T16:50:12.713" v="658" actId="478"/>
          <ac:spMkLst>
            <pc:docMk/>
            <pc:sldMk cId="3748179659" sldId="548"/>
            <ac:spMk id="13" creationId="{00000000-0000-0000-0000-000000000000}"/>
          </ac:spMkLst>
        </pc:spChg>
        <pc:spChg chg="del mod">
          <ac:chgData name="Ogundairo, Sunmisola" userId="ca9d8627-40bc-4f68-b59e-d13554e1af79" providerId="ADAL" clId="{EBDB7F11-A6B6-4089-9396-A9E55F1D6E6F}" dt="2023-03-28T16:56:31.414" v="1293" actId="478"/>
          <ac:spMkLst>
            <pc:docMk/>
            <pc:sldMk cId="3748179659" sldId="548"/>
            <ac:spMk id="14" creationId="{00000000-0000-0000-0000-000000000000}"/>
          </ac:spMkLst>
        </pc:spChg>
        <pc:spChg chg="add del mod">
          <ac:chgData name="Ogundairo, Sunmisola" userId="ca9d8627-40bc-4f68-b59e-d13554e1af79" providerId="ADAL" clId="{EBDB7F11-A6B6-4089-9396-A9E55F1D6E6F}" dt="2023-03-28T16:56:35.033" v="1294" actId="478"/>
          <ac:spMkLst>
            <pc:docMk/>
            <pc:sldMk cId="3748179659" sldId="548"/>
            <ac:spMk id="16" creationId="{0E41E733-7696-4921-84B2-C3426CE4F1F5}"/>
          </ac:spMkLst>
        </pc:spChg>
        <pc:spChg chg="add del mod">
          <ac:chgData name="Ogundairo, Sunmisola" userId="ca9d8627-40bc-4f68-b59e-d13554e1af79" providerId="ADAL" clId="{EBDB7F11-A6B6-4089-9396-A9E55F1D6E6F}" dt="2023-03-30T08:36:11.839" v="4971" actId="478"/>
          <ac:spMkLst>
            <pc:docMk/>
            <pc:sldMk cId="3748179659" sldId="548"/>
            <ac:spMk id="20" creationId="{9496BD72-763C-499E-931B-62992A627EC1}"/>
          </ac:spMkLst>
        </pc:spChg>
        <pc:spChg chg="add mod">
          <ac:chgData name="Ogundairo, Sunmisola" userId="ca9d8627-40bc-4f68-b59e-d13554e1af79" providerId="ADAL" clId="{EBDB7F11-A6B6-4089-9396-A9E55F1D6E6F}" dt="2023-03-31T01:39:36.864" v="6061" actId="255"/>
          <ac:spMkLst>
            <pc:docMk/>
            <pc:sldMk cId="3748179659" sldId="548"/>
            <ac:spMk id="21" creationId="{3AB12EE5-0784-4A95-B821-3FFE6527ED33}"/>
          </ac:spMkLst>
        </pc:spChg>
        <pc:graphicFrameChg chg="del">
          <ac:chgData name="Ogundairo, Sunmisola" userId="ca9d8627-40bc-4f68-b59e-d13554e1af79" providerId="ADAL" clId="{EBDB7F11-A6B6-4089-9396-A9E55F1D6E6F}" dt="2023-03-28T16:48:38.781" v="649" actId="478"/>
          <ac:graphicFrameMkLst>
            <pc:docMk/>
            <pc:sldMk cId="3748179659" sldId="548"/>
            <ac:graphicFrameMk id="24" creationId="{00000000-0000-0000-0000-000000000000}"/>
          </ac:graphicFrameMkLst>
        </pc:graphicFrameChg>
        <pc:picChg chg="add del mod">
          <ac:chgData name="Ogundairo, Sunmisola" userId="ca9d8627-40bc-4f68-b59e-d13554e1af79" providerId="ADAL" clId="{EBDB7F11-A6B6-4089-9396-A9E55F1D6E6F}" dt="2023-03-31T14:13:09.079" v="7752" actId="22"/>
          <ac:picMkLst>
            <pc:docMk/>
            <pc:sldMk cId="3748179659" sldId="548"/>
            <ac:picMk id="5" creationId="{60786582-CD9A-4B06-8202-CAF04D391387}"/>
          </ac:picMkLst>
        </pc:picChg>
        <pc:picChg chg="add del mod">
          <ac:chgData name="Ogundairo, Sunmisola" userId="ca9d8627-40bc-4f68-b59e-d13554e1af79" providerId="ADAL" clId="{EBDB7F11-A6B6-4089-9396-A9E55F1D6E6F}" dt="2023-04-05T21:59:10.398" v="7898" actId="22"/>
          <ac:picMkLst>
            <pc:docMk/>
            <pc:sldMk cId="3748179659" sldId="548"/>
            <ac:picMk id="5" creationId="{BE0CE6CE-0AD8-431A-A5C9-5C83788DC791}"/>
          </ac:picMkLst>
        </pc:picChg>
        <pc:picChg chg="add mod">
          <ac:chgData name="Ogundairo, Sunmisola" userId="ca9d8627-40bc-4f68-b59e-d13554e1af79" providerId="ADAL" clId="{EBDB7F11-A6B6-4089-9396-A9E55F1D6E6F}" dt="2023-04-05T22:00:58.327" v="7904" actId="1076"/>
          <ac:picMkLst>
            <pc:docMk/>
            <pc:sldMk cId="3748179659" sldId="548"/>
            <ac:picMk id="7" creationId="{420F759C-0688-4B0E-BF9A-94E9159A946C}"/>
          </ac:picMkLst>
        </pc:picChg>
        <pc:picChg chg="add del mod">
          <ac:chgData name="Ogundairo, Sunmisola" userId="ca9d8627-40bc-4f68-b59e-d13554e1af79" providerId="ADAL" clId="{EBDB7F11-A6B6-4089-9396-A9E55F1D6E6F}" dt="2023-04-05T22:00:11.461" v="7899" actId="478"/>
          <ac:picMkLst>
            <pc:docMk/>
            <pc:sldMk cId="3748179659" sldId="548"/>
            <ac:picMk id="8" creationId="{014AB76B-C95E-423B-962A-9AAEC34C0A55}"/>
          </ac:picMkLst>
        </pc:picChg>
        <pc:picChg chg="add mod">
          <ac:chgData name="Ogundairo, Sunmisola" userId="ca9d8627-40bc-4f68-b59e-d13554e1af79" providerId="ADAL" clId="{EBDB7F11-A6B6-4089-9396-A9E55F1D6E6F}" dt="2023-03-28T16:56:36.981" v="1295"/>
          <ac:picMkLst>
            <pc:docMk/>
            <pc:sldMk cId="3748179659" sldId="548"/>
            <ac:picMk id="18" creationId="{467DCF38-BF0C-46EA-859C-FAA9378D473C}"/>
          </ac:picMkLst>
        </pc:picChg>
      </pc:sldChg>
      <pc:sldChg chg="add del">
        <pc:chgData name="Ogundairo, Sunmisola" userId="ca9d8627-40bc-4f68-b59e-d13554e1af79" providerId="ADAL" clId="{EBDB7F11-A6B6-4089-9396-A9E55F1D6E6F}" dt="2023-03-31T01:36:03.041" v="6031" actId="2696"/>
        <pc:sldMkLst>
          <pc:docMk/>
          <pc:sldMk cId="2587953791" sldId="578"/>
        </pc:sldMkLst>
      </pc:sldChg>
      <pc:sldChg chg="add del">
        <pc:chgData name="Ogundairo, Sunmisola" userId="ca9d8627-40bc-4f68-b59e-d13554e1af79" providerId="ADAL" clId="{EBDB7F11-A6B6-4089-9396-A9E55F1D6E6F}" dt="2023-03-30T08:31:52.180" v="4893" actId="2696"/>
        <pc:sldMkLst>
          <pc:docMk/>
          <pc:sldMk cId="2501977575" sldId="598"/>
        </pc:sldMkLst>
      </pc:sldChg>
      <pc:sldChg chg="addSp delSp modSp add del mod setBg">
        <pc:chgData name="Ogundairo, Sunmisola" userId="ca9d8627-40bc-4f68-b59e-d13554e1af79" providerId="ADAL" clId="{EBDB7F11-A6B6-4089-9396-A9E55F1D6E6F}" dt="2023-03-30T08:57:22.638" v="5311" actId="2696"/>
        <pc:sldMkLst>
          <pc:docMk/>
          <pc:sldMk cId="2153067775" sldId="771"/>
        </pc:sldMkLst>
        <pc:spChg chg="mod">
          <ac:chgData name="Ogundairo, Sunmisola" userId="ca9d8627-40bc-4f68-b59e-d13554e1af79" providerId="ADAL" clId="{EBDB7F11-A6B6-4089-9396-A9E55F1D6E6F}" dt="2023-03-30T08:39:58.206" v="4985" actId="207"/>
          <ac:spMkLst>
            <pc:docMk/>
            <pc:sldMk cId="2153067775" sldId="771"/>
            <ac:spMk id="3" creationId="{5CF52A8F-5168-4489-86F4-10C0DF212F13}"/>
          </ac:spMkLst>
        </pc:spChg>
        <pc:spChg chg="mod">
          <ac:chgData name="Ogundairo, Sunmisola" userId="ca9d8627-40bc-4f68-b59e-d13554e1af79" providerId="ADAL" clId="{EBDB7F11-A6B6-4089-9396-A9E55F1D6E6F}" dt="2023-03-30T08:53:13.051" v="5289" actId="1036"/>
          <ac:spMkLst>
            <pc:docMk/>
            <pc:sldMk cId="2153067775" sldId="771"/>
            <ac:spMk id="6" creationId="{E6D675EC-425C-4157-A4F5-9ABBC5F6AF8F}"/>
          </ac:spMkLst>
        </pc:spChg>
        <pc:spChg chg="mod">
          <ac:chgData name="Ogundairo, Sunmisola" userId="ca9d8627-40bc-4f68-b59e-d13554e1af79" providerId="ADAL" clId="{EBDB7F11-A6B6-4089-9396-A9E55F1D6E6F}" dt="2023-03-30T08:44:40.747" v="5084" actId="20577"/>
          <ac:spMkLst>
            <pc:docMk/>
            <pc:sldMk cId="2153067775" sldId="771"/>
            <ac:spMk id="7" creationId="{979194AF-2EDE-466B-9C88-7DFEB74E91A1}"/>
          </ac:spMkLst>
        </pc:spChg>
        <pc:spChg chg="add del mod">
          <ac:chgData name="Ogundairo, Sunmisola" userId="ca9d8627-40bc-4f68-b59e-d13554e1af79" providerId="ADAL" clId="{EBDB7F11-A6B6-4089-9396-A9E55F1D6E6F}" dt="2023-03-30T08:44:27.307" v="5066" actId="20577"/>
          <ac:spMkLst>
            <pc:docMk/>
            <pc:sldMk cId="2153067775" sldId="771"/>
            <ac:spMk id="8" creationId="{8AECD474-D2C5-4E5F-B0DB-95193A98B3FD}"/>
          </ac:spMkLst>
        </pc:spChg>
        <pc:spChg chg="mod">
          <ac:chgData name="Ogundairo, Sunmisola" userId="ca9d8627-40bc-4f68-b59e-d13554e1af79" providerId="ADAL" clId="{EBDB7F11-A6B6-4089-9396-A9E55F1D6E6F}" dt="2023-03-30T08:43:37.705" v="5038" actId="20577"/>
          <ac:spMkLst>
            <pc:docMk/>
            <pc:sldMk cId="2153067775" sldId="771"/>
            <ac:spMk id="9" creationId="{99723836-A1F8-4FB6-9EF9-975A33F2C584}"/>
          </ac:spMkLst>
        </pc:spChg>
        <pc:spChg chg="mod">
          <ac:chgData name="Ogundairo, Sunmisola" userId="ca9d8627-40bc-4f68-b59e-d13554e1af79" providerId="ADAL" clId="{EBDB7F11-A6B6-4089-9396-A9E55F1D6E6F}" dt="2023-03-30T08:43:12.862" v="5012" actId="20577"/>
          <ac:spMkLst>
            <pc:docMk/>
            <pc:sldMk cId="2153067775" sldId="771"/>
            <ac:spMk id="10" creationId="{7A0946B8-3128-463A-9235-B2A69BAF904B}"/>
          </ac:spMkLst>
        </pc:spChg>
        <pc:spChg chg="mod">
          <ac:chgData name="Ogundairo, Sunmisola" userId="ca9d8627-40bc-4f68-b59e-d13554e1af79" providerId="ADAL" clId="{EBDB7F11-A6B6-4089-9396-A9E55F1D6E6F}" dt="2023-03-30T08:37:11.669" v="4976" actId="207"/>
          <ac:spMkLst>
            <pc:docMk/>
            <pc:sldMk cId="2153067775" sldId="771"/>
            <ac:spMk id="11" creationId="{2EF68954-D221-457B-9936-F7D455DFE6F3}"/>
          </ac:spMkLst>
        </pc:spChg>
        <pc:spChg chg="mod">
          <ac:chgData name="Ogundairo, Sunmisola" userId="ca9d8627-40bc-4f68-b59e-d13554e1af79" providerId="ADAL" clId="{EBDB7F11-A6B6-4089-9396-A9E55F1D6E6F}" dt="2023-03-30T08:42:44.752" v="4986" actId="255"/>
          <ac:spMkLst>
            <pc:docMk/>
            <pc:sldMk cId="2153067775" sldId="771"/>
            <ac:spMk id="12" creationId="{7BCD2CF6-5479-4C60-BCEB-89E8BEE1AA5F}"/>
          </ac:spMkLst>
        </pc:spChg>
        <pc:spChg chg="mod">
          <ac:chgData name="Ogundairo, Sunmisola" userId="ca9d8627-40bc-4f68-b59e-d13554e1af79" providerId="ADAL" clId="{EBDB7F11-A6B6-4089-9396-A9E55F1D6E6F}" dt="2023-03-30T08:42:44.752" v="4986" actId="255"/>
          <ac:spMkLst>
            <pc:docMk/>
            <pc:sldMk cId="2153067775" sldId="771"/>
            <ac:spMk id="16" creationId="{36130F71-7ADE-45BD-8F81-67AFAB4B265D}"/>
          </ac:spMkLst>
        </pc:spChg>
        <pc:spChg chg="mod">
          <ac:chgData name="Ogundairo, Sunmisola" userId="ca9d8627-40bc-4f68-b59e-d13554e1af79" providerId="ADAL" clId="{EBDB7F11-A6B6-4089-9396-A9E55F1D6E6F}" dt="2023-03-30T08:37:11.669" v="4976" actId="207"/>
          <ac:spMkLst>
            <pc:docMk/>
            <pc:sldMk cId="2153067775" sldId="771"/>
            <ac:spMk id="17" creationId="{AD0A6879-2F53-45E6-91BD-4906244FEA9C}"/>
          </ac:spMkLst>
        </pc:spChg>
        <pc:spChg chg="mod">
          <ac:chgData name="Ogundairo, Sunmisola" userId="ca9d8627-40bc-4f68-b59e-d13554e1af79" providerId="ADAL" clId="{EBDB7F11-A6B6-4089-9396-A9E55F1D6E6F}" dt="2023-03-30T08:42:44.752" v="4986" actId="255"/>
          <ac:spMkLst>
            <pc:docMk/>
            <pc:sldMk cId="2153067775" sldId="771"/>
            <ac:spMk id="18" creationId="{E0D7A425-A48B-4EA1-8F82-C462A978B205}"/>
          </ac:spMkLst>
        </pc:spChg>
        <pc:spChg chg="mod">
          <ac:chgData name="Ogundairo, Sunmisola" userId="ca9d8627-40bc-4f68-b59e-d13554e1af79" providerId="ADAL" clId="{EBDB7F11-A6B6-4089-9396-A9E55F1D6E6F}" dt="2023-03-30T08:42:44.752" v="4986" actId="255"/>
          <ac:spMkLst>
            <pc:docMk/>
            <pc:sldMk cId="2153067775" sldId="771"/>
            <ac:spMk id="19" creationId="{2C6D883F-9675-4A1B-AD97-882EB211E3DF}"/>
          </ac:spMkLst>
        </pc:spChg>
        <pc:spChg chg="mod">
          <ac:chgData name="Ogundairo, Sunmisola" userId="ca9d8627-40bc-4f68-b59e-d13554e1af79" providerId="ADAL" clId="{EBDB7F11-A6B6-4089-9396-A9E55F1D6E6F}" dt="2023-03-30T08:42:44.752" v="4986" actId="255"/>
          <ac:spMkLst>
            <pc:docMk/>
            <pc:sldMk cId="2153067775" sldId="771"/>
            <ac:spMk id="20" creationId="{752AC34B-E4AF-4EE5-BEC5-28CE785FD42E}"/>
          </ac:spMkLst>
        </pc:spChg>
        <pc:spChg chg="mod">
          <ac:chgData name="Ogundairo, Sunmisola" userId="ca9d8627-40bc-4f68-b59e-d13554e1af79" providerId="ADAL" clId="{EBDB7F11-A6B6-4089-9396-A9E55F1D6E6F}" dt="2023-03-30T08:42:44.752" v="4986" actId="255"/>
          <ac:spMkLst>
            <pc:docMk/>
            <pc:sldMk cId="2153067775" sldId="771"/>
            <ac:spMk id="21" creationId="{22ADBE73-5A4E-4715-A583-63FA457EBB5F}"/>
          </ac:spMkLst>
        </pc:spChg>
        <pc:spChg chg="mod">
          <ac:chgData name="Ogundairo, Sunmisola" userId="ca9d8627-40bc-4f68-b59e-d13554e1af79" providerId="ADAL" clId="{EBDB7F11-A6B6-4089-9396-A9E55F1D6E6F}" dt="2023-03-30T08:42:44.752" v="4986" actId="255"/>
          <ac:spMkLst>
            <pc:docMk/>
            <pc:sldMk cId="2153067775" sldId="771"/>
            <ac:spMk id="22" creationId="{4B7FEB50-6EF2-47D3-8CB5-37CDC84068EC}"/>
          </ac:spMkLst>
        </pc:spChg>
        <pc:spChg chg="mod">
          <ac:chgData name="Ogundairo, Sunmisola" userId="ca9d8627-40bc-4f68-b59e-d13554e1af79" providerId="ADAL" clId="{EBDB7F11-A6B6-4089-9396-A9E55F1D6E6F}" dt="2023-03-30T08:42:44.752" v="4986" actId="255"/>
          <ac:spMkLst>
            <pc:docMk/>
            <pc:sldMk cId="2153067775" sldId="771"/>
            <ac:spMk id="23" creationId="{BB4FECCF-212B-435E-8F30-B30AC59B3325}"/>
          </ac:spMkLst>
        </pc:spChg>
        <pc:spChg chg="mod">
          <ac:chgData name="Ogundairo, Sunmisola" userId="ca9d8627-40bc-4f68-b59e-d13554e1af79" providerId="ADAL" clId="{EBDB7F11-A6B6-4089-9396-A9E55F1D6E6F}" dt="2023-03-30T08:42:44.752" v="4986" actId="255"/>
          <ac:spMkLst>
            <pc:docMk/>
            <pc:sldMk cId="2153067775" sldId="771"/>
            <ac:spMk id="24" creationId="{3B33CF3C-523E-4265-BC07-95B8EE1166CA}"/>
          </ac:spMkLst>
        </pc:spChg>
        <pc:spChg chg="mod">
          <ac:chgData name="Ogundairo, Sunmisola" userId="ca9d8627-40bc-4f68-b59e-d13554e1af79" providerId="ADAL" clId="{EBDB7F11-A6B6-4089-9396-A9E55F1D6E6F}" dt="2023-03-30T08:42:44.752" v="4986" actId="255"/>
          <ac:spMkLst>
            <pc:docMk/>
            <pc:sldMk cId="2153067775" sldId="771"/>
            <ac:spMk id="25" creationId="{E7733B74-3B50-4BCD-8CA9-296174C322BD}"/>
          </ac:spMkLst>
        </pc:spChg>
        <pc:spChg chg="mod">
          <ac:chgData name="Ogundairo, Sunmisola" userId="ca9d8627-40bc-4f68-b59e-d13554e1af79" providerId="ADAL" clId="{EBDB7F11-A6B6-4089-9396-A9E55F1D6E6F}" dt="2023-03-30T08:42:44.752" v="4986" actId="255"/>
          <ac:spMkLst>
            <pc:docMk/>
            <pc:sldMk cId="2153067775" sldId="771"/>
            <ac:spMk id="26" creationId="{53CEEE82-62B3-4C77-800B-8757535CEE48}"/>
          </ac:spMkLst>
        </pc:spChg>
        <pc:spChg chg="mod">
          <ac:chgData name="Ogundairo, Sunmisola" userId="ca9d8627-40bc-4f68-b59e-d13554e1af79" providerId="ADAL" clId="{EBDB7F11-A6B6-4089-9396-A9E55F1D6E6F}" dt="2023-03-30T08:42:44.752" v="4986" actId="255"/>
          <ac:spMkLst>
            <pc:docMk/>
            <pc:sldMk cId="2153067775" sldId="771"/>
            <ac:spMk id="44" creationId="{DC13E024-06F5-4919-9DB6-4AD09DBA2E38}"/>
          </ac:spMkLst>
        </pc:spChg>
        <pc:spChg chg="mod">
          <ac:chgData name="Ogundairo, Sunmisola" userId="ca9d8627-40bc-4f68-b59e-d13554e1af79" providerId="ADAL" clId="{EBDB7F11-A6B6-4089-9396-A9E55F1D6E6F}" dt="2023-03-30T08:42:44.752" v="4986" actId="255"/>
          <ac:spMkLst>
            <pc:docMk/>
            <pc:sldMk cId="2153067775" sldId="771"/>
            <ac:spMk id="45" creationId="{31D9FA63-67A9-4702-B8D9-70C282E7D713}"/>
          </ac:spMkLst>
        </pc:spChg>
        <pc:spChg chg="mod">
          <ac:chgData name="Ogundairo, Sunmisola" userId="ca9d8627-40bc-4f68-b59e-d13554e1af79" providerId="ADAL" clId="{EBDB7F11-A6B6-4089-9396-A9E55F1D6E6F}" dt="2023-03-30T08:42:44.752" v="4986" actId="255"/>
          <ac:spMkLst>
            <pc:docMk/>
            <pc:sldMk cId="2153067775" sldId="771"/>
            <ac:spMk id="46" creationId="{65B53DAE-766F-4986-8C1A-6A9127C520FE}"/>
          </ac:spMkLst>
        </pc:spChg>
        <pc:spChg chg="mod">
          <ac:chgData name="Ogundairo, Sunmisola" userId="ca9d8627-40bc-4f68-b59e-d13554e1af79" providerId="ADAL" clId="{EBDB7F11-A6B6-4089-9396-A9E55F1D6E6F}" dt="2023-03-30T08:46:13.149" v="5087" actId="207"/>
          <ac:spMkLst>
            <pc:docMk/>
            <pc:sldMk cId="2153067775" sldId="771"/>
            <ac:spMk id="47" creationId="{E00D17FD-6450-4132-A7D8-E6B632330318}"/>
          </ac:spMkLst>
        </pc:spChg>
        <pc:grpChg chg="mod">
          <ac:chgData name="Ogundairo, Sunmisola" userId="ca9d8627-40bc-4f68-b59e-d13554e1af79" providerId="ADAL" clId="{EBDB7F11-A6B6-4089-9396-A9E55F1D6E6F}" dt="2023-03-30T08:42:44.752" v="4986" actId="255"/>
          <ac:grpSpMkLst>
            <pc:docMk/>
            <pc:sldMk cId="2153067775" sldId="771"/>
            <ac:grpSpMk id="13" creationId="{76D46CE1-CE66-4CBC-B04F-3C446CB35EBF}"/>
          </ac:grpSpMkLst>
        </pc:grpChg>
        <pc:grpChg chg="mod">
          <ac:chgData name="Ogundairo, Sunmisola" userId="ca9d8627-40bc-4f68-b59e-d13554e1af79" providerId="ADAL" clId="{EBDB7F11-A6B6-4089-9396-A9E55F1D6E6F}" dt="2023-03-30T08:42:44.752" v="4986" actId="255"/>
          <ac:grpSpMkLst>
            <pc:docMk/>
            <pc:sldMk cId="2153067775" sldId="771"/>
            <ac:grpSpMk id="27" creationId="{1B1A7754-6EAE-4364-AD7F-38E8BFE1C8DC}"/>
          </ac:grpSpMkLst>
        </pc:grpChg>
        <pc:picChg chg="add mod">
          <ac:chgData name="Ogundairo, Sunmisola" userId="ca9d8627-40bc-4f68-b59e-d13554e1af79" providerId="ADAL" clId="{EBDB7F11-A6B6-4089-9396-A9E55F1D6E6F}" dt="2023-03-30T08:38:06.263" v="4979"/>
          <ac:picMkLst>
            <pc:docMk/>
            <pc:sldMk cId="2153067775" sldId="771"/>
            <ac:picMk id="48" creationId="{D64B1830-4C78-4BCA-85C5-841198C303EF}"/>
          </ac:picMkLst>
        </pc:picChg>
      </pc:sldChg>
      <pc:sldChg chg="addSp delSp modSp add mod ord">
        <pc:chgData name="Ogundairo, Sunmisola" userId="ca9d8627-40bc-4f68-b59e-d13554e1af79" providerId="ADAL" clId="{EBDB7F11-A6B6-4089-9396-A9E55F1D6E6F}" dt="2023-04-05T22:13:22.846" v="7906"/>
        <pc:sldMkLst>
          <pc:docMk/>
          <pc:sldMk cId="1566824997" sldId="950"/>
        </pc:sldMkLst>
        <pc:spChg chg="del">
          <ac:chgData name="Ogundairo, Sunmisola" userId="ca9d8627-40bc-4f68-b59e-d13554e1af79" providerId="ADAL" clId="{EBDB7F11-A6B6-4089-9396-A9E55F1D6E6F}" dt="2023-03-28T21:24:46.542" v="2384" actId="478"/>
          <ac:spMkLst>
            <pc:docMk/>
            <pc:sldMk cId="1566824997" sldId="950"/>
            <ac:spMk id="3" creationId="{00000000-0000-0000-0000-000000000000}"/>
          </ac:spMkLst>
        </pc:spChg>
        <pc:spChg chg="add del mod">
          <ac:chgData name="Ogundairo, Sunmisola" userId="ca9d8627-40bc-4f68-b59e-d13554e1af79" providerId="ADAL" clId="{EBDB7F11-A6B6-4089-9396-A9E55F1D6E6F}" dt="2023-03-28T21:24:50.298" v="2385" actId="478"/>
          <ac:spMkLst>
            <pc:docMk/>
            <pc:sldMk cId="1566824997" sldId="950"/>
            <ac:spMk id="4" creationId="{F71FAE22-47E7-4301-8FED-BE99242A2C12}"/>
          </ac:spMkLst>
        </pc:spChg>
        <pc:spChg chg="add mod">
          <ac:chgData name="Ogundairo, Sunmisola" userId="ca9d8627-40bc-4f68-b59e-d13554e1af79" providerId="ADAL" clId="{EBDB7F11-A6B6-4089-9396-A9E55F1D6E6F}" dt="2023-03-31T01:44:58.678" v="6118" actId="20577"/>
          <ac:spMkLst>
            <pc:docMk/>
            <pc:sldMk cId="1566824997" sldId="950"/>
            <ac:spMk id="22" creationId="{58C214E9-AF7E-4BA1-9A76-0A90DD1C6BEE}"/>
          </ac:spMkLst>
        </pc:spChg>
        <pc:spChg chg="mod">
          <ac:chgData name="Ogundairo, Sunmisola" userId="ca9d8627-40bc-4f68-b59e-d13554e1af79" providerId="ADAL" clId="{EBDB7F11-A6B6-4089-9396-A9E55F1D6E6F}" dt="2023-03-28T21:50:56.785" v="2695" actId="208"/>
          <ac:spMkLst>
            <pc:docMk/>
            <pc:sldMk cId="1566824997" sldId="950"/>
            <ac:spMk id="24" creationId="{00000000-0000-0000-0000-000000000000}"/>
          </ac:spMkLst>
        </pc:spChg>
        <pc:spChg chg="mod">
          <ac:chgData name="Ogundairo, Sunmisola" userId="ca9d8627-40bc-4f68-b59e-d13554e1af79" providerId="ADAL" clId="{EBDB7F11-A6B6-4089-9396-A9E55F1D6E6F}" dt="2023-03-31T01:41:00.883" v="6084" actId="20577"/>
          <ac:spMkLst>
            <pc:docMk/>
            <pc:sldMk cId="1566824997" sldId="950"/>
            <ac:spMk id="25" creationId="{00000000-0000-0000-0000-000000000000}"/>
          </ac:spMkLst>
        </pc:spChg>
        <pc:spChg chg="mod">
          <ac:chgData name="Ogundairo, Sunmisola" userId="ca9d8627-40bc-4f68-b59e-d13554e1af79" providerId="ADAL" clId="{EBDB7F11-A6B6-4089-9396-A9E55F1D6E6F}" dt="2023-03-28T21:51:10.729" v="2696" actId="208"/>
          <ac:spMkLst>
            <pc:docMk/>
            <pc:sldMk cId="1566824997" sldId="950"/>
            <ac:spMk id="27" creationId="{00000000-0000-0000-0000-000000000000}"/>
          </ac:spMkLst>
        </pc:spChg>
        <pc:spChg chg="mod">
          <ac:chgData name="Ogundairo, Sunmisola" userId="ca9d8627-40bc-4f68-b59e-d13554e1af79" providerId="ADAL" clId="{EBDB7F11-A6B6-4089-9396-A9E55F1D6E6F}" dt="2023-03-31T13:57:39.984" v="7428" actId="1038"/>
          <ac:spMkLst>
            <pc:docMk/>
            <pc:sldMk cId="1566824997" sldId="950"/>
            <ac:spMk id="28" creationId="{00000000-0000-0000-0000-000000000000}"/>
          </ac:spMkLst>
        </pc:spChg>
        <pc:spChg chg="mod">
          <ac:chgData name="Ogundairo, Sunmisola" userId="ca9d8627-40bc-4f68-b59e-d13554e1af79" providerId="ADAL" clId="{EBDB7F11-A6B6-4089-9396-A9E55F1D6E6F}" dt="2023-03-28T21:51:10.729" v="2696" actId="208"/>
          <ac:spMkLst>
            <pc:docMk/>
            <pc:sldMk cId="1566824997" sldId="950"/>
            <ac:spMk id="29" creationId="{00000000-0000-0000-0000-000000000000}"/>
          </ac:spMkLst>
        </pc:spChg>
        <pc:spChg chg="mod">
          <ac:chgData name="Ogundairo, Sunmisola" userId="ca9d8627-40bc-4f68-b59e-d13554e1af79" providerId="ADAL" clId="{EBDB7F11-A6B6-4089-9396-A9E55F1D6E6F}" dt="2023-03-31T01:40:30.820" v="6065" actId="255"/>
          <ac:spMkLst>
            <pc:docMk/>
            <pc:sldMk cId="1566824997" sldId="950"/>
            <ac:spMk id="30" creationId="{00000000-0000-0000-0000-000000000000}"/>
          </ac:spMkLst>
        </pc:spChg>
        <pc:spChg chg="mod">
          <ac:chgData name="Ogundairo, Sunmisola" userId="ca9d8627-40bc-4f68-b59e-d13554e1af79" providerId="ADAL" clId="{EBDB7F11-A6B6-4089-9396-A9E55F1D6E6F}" dt="2023-03-28T21:51:10.729" v="2696" actId="208"/>
          <ac:spMkLst>
            <pc:docMk/>
            <pc:sldMk cId="1566824997" sldId="950"/>
            <ac:spMk id="31" creationId="{00000000-0000-0000-0000-000000000000}"/>
          </ac:spMkLst>
        </pc:spChg>
        <pc:spChg chg="mod">
          <ac:chgData name="Ogundairo, Sunmisola" userId="ca9d8627-40bc-4f68-b59e-d13554e1af79" providerId="ADAL" clId="{EBDB7F11-A6B6-4089-9396-A9E55F1D6E6F}" dt="2023-03-31T01:41:32.185" v="6085" actId="255"/>
          <ac:spMkLst>
            <pc:docMk/>
            <pc:sldMk cId="1566824997" sldId="950"/>
            <ac:spMk id="35" creationId="{00000000-0000-0000-0000-000000000000}"/>
          </ac:spMkLst>
        </pc:spChg>
        <pc:spChg chg="mod">
          <ac:chgData name="Ogundairo, Sunmisola" userId="ca9d8627-40bc-4f68-b59e-d13554e1af79" providerId="ADAL" clId="{EBDB7F11-A6B6-4089-9396-A9E55F1D6E6F}" dt="2023-03-28T21:51:10.729" v="2696" actId="208"/>
          <ac:spMkLst>
            <pc:docMk/>
            <pc:sldMk cId="1566824997" sldId="950"/>
            <ac:spMk id="36" creationId="{00000000-0000-0000-0000-000000000000}"/>
          </ac:spMkLst>
        </pc:spChg>
        <pc:spChg chg="mod">
          <ac:chgData name="Ogundairo, Sunmisola" userId="ca9d8627-40bc-4f68-b59e-d13554e1af79" providerId="ADAL" clId="{EBDB7F11-A6B6-4089-9396-A9E55F1D6E6F}" dt="2023-03-31T01:41:32.185" v="6085" actId="255"/>
          <ac:spMkLst>
            <pc:docMk/>
            <pc:sldMk cId="1566824997" sldId="950"/>
            <ac:spMk id="37" creationId="{00000000-0000-0000-0000-000000000000}"/>
          </ac:spMkLst>
        </pc:spChg>
        <pc:spChg chg="mod">
          <ac:chgData name="Ogundairo, Sunmisola" userId="ca9d8627-40bc-4f68-b59e-d13554e1af79" providerId="ADAL" clId="{EBDB7F11-A6B6-4089-9396-A9E55F1D6E6F}" dt="2023-03-28T21:51:10.729" v="2696" actId="208"/>
          <ac:spMkLst>
            <pc:docMk/>
            <pc:sldMk cId="1566824997" sldId="950"/>
            <ac:spMk id="38" creationId="{00000000-0000-0000-0000-000000000000}"/>
          </ac:spMkLst>
        </pc:spChg>
        <pc:spChg chg="mod">
          <ac:chgData name="Ogundairo, Sunmisola" userId="ca9d8627-40bc-4f68-b59e-d13554e1af79" providerId="ADAL" clId="{EBDB7F11-A6B6-4089-9396-A9E55F1D6E6F}" dt="2023-03-31T01:41:32.185" v="6085" actId="255"/>
          <ac:spMkLst>
            <pc:docMk/>
            <pc:sldMk cId="1566824997" sldId="950"/>
            <ac:spMk id="39" creationId="{00000000-0000-0000-0000-000000000000}"/>
          </ac:spMkLst>
        </pc:spChg>
        <pc:spChg chg="mod">
          <ac:chgData name="Ogundairo, Sunmisola" userId="ca9d8627-40bc-4f68-b59e-d13554e1af79" providerId="ADAL" clId="{EBDB7F11-A6B6-4089-9396-A9E55F1D6E6F}" dt="2023-03-31T01:39:52.980" v="6062" actId="255"/>
          <ac:spMkLst>
            <pc:docMk/>
            <pc:sldMk cId="1566824997" sldId="950"/>
            <ac:spMk id="40" creationId="{00000000-0000-0000-0000-000000000000}"/>
          </ac:spMkLst>
        </pc:spChg>
        <pc:spChg chg="mod">
          <ac:chgData name="Ogundairo, Sunmisola" userId="ca9d8627-40bc-4f68-b59e-d13554e1af79" providerId="ADAL" clId="{EBDB7F11-A6B6-4089-9396-A9E55F1D6E6F}" dt="2023-03-31T01:39:57.980" v="6063" actId="255"/>
          <ac:spMkLst>
            <pc:docMk/>
            <pc:sldMk cId="1566824997" sldId="950"/>
            <ac:spMk id="44" creationId="{00000000-0000-0000-0000-000000000000}"/>
          </ac:spMkLst>
        </pc:spChg>
        <pc:spChg chg="mod">
          <ac:chgData name="Ogundairo, Sunmisola" userId="ca9d8627-40bc-4f68-b59e-d13554e1af79" providerId="ADAL" clId="{EBDB7F11-A6B6-4089-9396-A9E55F1D6E6F}" dt="2023-03-31T01:40:05.585" v="6064" actId="255"/>
          <ac:spMkLst>
            <pc:docMk/>
            <pc:sldMk cId="1566824997" sldId="950"/>
            <ac:spMk id="45" creationId="{00000000-0000-0000-0000-000000000000}"/>
          </ac:spMkLst>
        </pc:spChg>
        <pc:spChg chg="mod">
          <ac:chgData name="Ogundairo, Sunmisola" userId="ca9d8627-40bc-4f68-b59e-d13554e1af79" providerId="ADAL" clId="{EBDB7F11-A6B6-4089-9396-A9E55F1D6E6F}" dt="2023-03-31T01:40:05.585" v="6064" actId="255"/>
          <ac:spMkLst>
            <pc:docMk/>
            <pc:sldMk cId="1566824997" sldId="950"/>
            <ac:spMk id="46" creationId="{00000000-0000-0000-0000-000000000000}"/>
          </ac:spMkLst>
        </pc:spChg>
        <pc:spChg chg="mod">
          <ac:chgData name="Ogundairo, Sunmisola" userId="ca9d8627-40bc-4f68-b59e-d13554e1af79" providerId="ADAL" clId="{EBDB7F11-A6B6-4089-9396-A9E55F1D6E6F}" dt="2023-03-30T08:36:44.955" v="4975" actId="113"/>
          <ac:spMkLst>
            <pc:docMk/>
            <pc:sldMk cId="1566824997" sldId="950"/>
            <ac:spMk id="240645" creationId="{00000000-0000-0000-0000-000000000000}"/>
          </ac:spMkLst>
        </pc:spChg>
        <pc:graphicFrameChg chg="add del modGraphic">
          <ac:chgData name="Ogundairo, Sunmisola" userId="ca9d8627-40bc-4f68-b59e-d13554e1af79" providerId="ADAL" clId="{EBDB7F11-A6B6-4089-9396-A9E55F1D6E6F}" dt="2023-03-29T16:32:41.241" v="3368" actId="478"/>
          <ac:graphicFrameMkLst>
            <pc:docMk/>
            <pc:sldMk cId="1566824997" sldId="950"/>
            <ac:graphicFrameMk id="3" creationId="{C759948A-3848-447F-9899-31ED6E97F01C}"/>
          </ac:graphicFrameMkLst>
        </pc:graphicFrameChg>
      </pc:sldChg>
      <pc:sldChg chg="modSp mod">
        <pc:chgData name="Ogundairo, Sunmisola" userId="ca9d8627-40bc-4f68-b59e-d13554e1af79" providerId="ADAL" clId="{EBDB7F11-A6B6-4089-9396-A9E55F1D6E6F}" dt="2023-03-30T08:59:28.003" v="5388" actId="20577"/>
        <pc:sldMkLst>
          <pc:docMk/>
          <pc:sldMk cId="3880333960" sldId="1788"/>
        </pc:sldMkLst>
        <pc:spChg chg="mod">
          <ac:chgData name="Ogundairo, Sunmisola" userId="ca9d8627-40bc-4f68-b59e-d13554e1af79" providerId="ADAL" clId="{EBDB7F11-A6B6-4089-9396-A9E55F1D6E6F}" dt="2023-03-29T17:55:25.571" v="3416" actId="313"/>
          <ac:spMkLst>
            <pc:docMk/>
            <pc:sldMk cId="3880333960" sldId="1788"/>
            <ac:spMk id="16" creationId="{8211B787-3DCA-4973-9863-A246E509352D}"/>
          </ac:spMkLst>
        </pc:spChg>
        <pc:spChg chg="mod">
          <ac:chgData name="Ogundairo, Sunmisola" userId="ca9d8627-40bc-4f68-b59e-d13554e1af79" providerId="ADAL" clId="{EBDB7F11-A6B6-4089-9396-A9E55F1D6E6F}" dt="2023-03-29T17:31:43.356" v="3412" actId="20577"/>
          <ac:spMkLst>
            <pc:docMk/>
            <pc:sldMk cId="3880333960" sldId="1788"/>
            <ac:spMk id="21" creationId="{ED6E9891-BC2B-47CE-90AE-ED52FF987BB2}"/>
          </ac:spMkLst>
        </pc:spChg>
        <pc:spChg chg="mod">
          <ac:chgData name="Ogundairo, Sunmisola" userId="ca9d8627-40bc-4f68-b59e-d13554e1af79" providerId="ADAL" clId="{EBDB7F11-A6B6-4089-9396-A9E55F1D6E6F}" dt="2023-03-29T19:27:00.822" v="4390" actId="20577"/>
          <ac:spMkLst>
            <pc:docMk/>
            <pc:sldMk cId="3880333960" sldId="1788"/>
            <ac:spMk id="24" creationId="{2439BC95-D627-41F4-A9F3-EC3FE433B889}"/>
          </ac:spMkLst>
        </pc:spChg>
        <pc:spChg chg="mod">
          <ac:chgData name="Ogundairo, Sunmisola" userId="ca9d8627-40bc-4f68-b59e-d13554e1af79" providerId="ADAL" clId="{EBDB7F11-A6B6-4089-9396-A9E55F1D6E6F}" dt="2023-03-30T08:59:28.003" v="5388" actId="20577"/>
          <ac:spMkLst>
            <pc:docMk/>
            <pc:sldMk cId="3880333960" sldId="1788"/>
            <ac:spMk id="28" creationId="{52C2A10B-FE82-474E-AC96-9F080DB5DEEC}"/>
          </ac:spMkLst>
        </pc:spChg>
      </pc:sldChg>
      <pc:sldChg chg="addSp modSp mod">
        <pc:chgData name="Ogundairo, Sunmisola" userId="ca9d8627-40bc-4f68-b59e-d13554e1af79" providerId="ADAL" clId="{EBDB7F11-A6B6-4089-9396-A9E55F1D6E6F}" dt="2023-04-04T23:55:05.099" v="7814" actId="113"/>
        <pc:sldMkLst>
          <pc:docMk/>
          <pc:sldMk cId="648498663" sldId="1790"/>
        </pc:sldMkLst>
        <pc:spChg chg="mod">
          <ac:chgData name="Ogundairo, Sunmisola" userId="ca9d8627-40bc-4f68-b59e-d13554e1af79" providerId="ADAL" clId="{EBDB7F11-A6B6-4089-9396-A9E55F1D6E6F}" dt="2023-03-29T18:41:54.152" v="3449"/>
          <ac:spMkLst>
            <pc:docMk/>
            <pc:sldMk cId="648498663" sldId="1790"/>
            <ac:spMk id="3" creationId="{00000000-0000-0000-0000-000000000000}"/>
          </ac:spMkLst>
        </pc:spChg>
        <pc:spChg chg="add mod">
          <ac:chgData name="Ogundairo, Sunmisola" userId="ca9d8627-40bc-4f68-b59e-d13554e1af79" providerId="ADAL" clId="{EBDB7F11-A6B6-4089-9396-A9E55F1D6E6F}" dt="2023-03-31T13:54:52.319" v="7426" actId="20577"/>
          <ac:spMkLst>
            <pc:docMk/>
            <pc:sldMk cId="648498663" sldId="1790"/>
            <ac:spMk id="9" creationId="{32914E22-0F1D-4253-A09B-B2E8DCBAE5B8}"/>
          </ac:spMkLst>
        </pc:spChg>
        <pc:spChg chg="mod">
          <ac:chgData name="Ogundairo, Sunmisola" userId="ca9d8627-40bc-4f68-b59e-d13554e1af79" providerId="ADAL" clId="{EBDB7F11-A6B6-4089-9396-A9E55F1D6E6F}" dt="2023-04-04T23:55:05.099" v="7814" actId="113"/>
          <ac:spMkLst>
            <pc:docMk/>
            <pc:sldMk cId="648498663" sldId="1790"/>
            <ac:spMk id="35" creationId="{A50CCC2D-44EB-488A-971E-A9D951AEC6B2}"/>
          </ac:spMkLst>
        </pc:spChg>
      </pc:sldChg>
      <pc:sldChg chg="addSp delSp modSp mod ord">
        <pc:chgData name="Ogundairo, Sunmisola" userId="ca9d8627-40bc-4f68-b59e-d13554e1af79" providerId="ADAL" clId="{EBDB7F11-A6B6-4089-9396-A9E55F1D6E6F}" dt="2023-04-05T00:13:55.842" v="7879" actId="1076"/>
        <pc:sldMkLst>
          <pc:docMk/>
          <pc:sldMk cId="1326631718" sldId="1791"/>
        </pc:sldMkLst>
        <pc:spChg chg="mod">
          <ac:chgData name="Ogundairo, Sunmisola" userId="ca9d8627-40bc-4f68-b59e-d13554e1af79" providerId="ADAL" clId="{EBDB7F11-A6B6-4089-9396-A9E55F1D6E6F}" dt="2023-04-04T23:56:55.905" v="7834" actId="20577"/>
          <ac:spMkLst>
            <pc:docMk/>
            <pc:sldMk cId="1326631718" sldId="1791"/>
            <ac:spMk id="3" creationId="{00000000-0000-0000-0000-000000000000}"/>
          </ac:spMkLst>
        </pc:spChg>
        <pc:spChg chg="add mod">
          <ac:chgData name="Ogundairo, Sunmisola" userId="ca9d8627-40bc-4f68-b59e-d13554e1af79" providerId="ADAL" clId="{EBDB7F11-A6B6-4089-9396-A9E55F1D6E6F}" dt="2023-04-04T23:57:11.371" v="7861" actId="20577"/>
          <ac:spMkLst>
            <pc:docMk/>
            <pc:sldMk cId="1326631718" sldId="1791"/>
            <ac:spMk id="10" creationId="{A8029A4D-EE64-4A3D-BFD6-DCB28F816534}"/>
          </ac:spMkLst>
        </pc:spChg>
        <pc:grpChg chg="del">
          <ac:chgData name="Ogundairo, Sunmisola" userId="ca9d8627-40bc-4f68-b59e-d13554e1af79" providerId="ADAL" clId="{EBDB7F11-A6B6-4089-9396-A9E55F1D6E6F}" dt="2023-04-04T23:56:41.913" v="7828" actId="478"/>
          <ac:grpSpMkLst>
            <pc:docMk/>
            <pc:sldMk cId="1326631718" sldId="1791"/>
            <ac:grpSpMk id="36" creationId="{DEAAD32F-DF98-44E9-B5CB-3F1F41E73002}"/>
          </ac:grpSpMkLst>
        </pc:grpChg>
        <pc:graphicFrameChg chg="mod modGraphic">
          <ac:chgData name="Ogundairo, Sunmisola" userId="ca9d8627-40bc-4f68-b59e-d13554e1af79" providerId="ADAL" clId="{EBDB7F11-A6B6-4089-9396-A9E55F1D6E6F}" dt="2023-04-05T00:13:51.187" v="7878" actId="1076"/>
          <ac:graphicFrameMkLst>
            <pc:docMk/>
            <pc:sldMk cId="1326631718" sldId="1791"/>
            <ac:graphicFrameMk id="25" creationId="{DC664B3E-D516-44B7-85D7-4D7684AB71AF}"/>
          </ac:graphicFrameMkLst>
        </pc:graphicFrameChg>
        <pc:graphicFrameChg chg="mod modGraphic">
          <ac:chgData name="Ogundairo, Sunmisola" userId="ca9d8627-40bc-4f68-b59e-d13554e1af79" providerId="ADAL" clId="{EBDB7F11-A6B6-4089-9396-A9E55F1D6E6F}" dt="2023-04-05T00:13:55.842" v="7879" actId="1076"/>
          <ac:graphicFrameMkLst>
            <pc:docMk/>
            <pc:sldMk cId="1326631718" sldId="1791"/>
            <ac:graphicFrameMk id="27" creationId="{5CE9E9F4-8136-4708-B5E2-A059B5833CBF}"/>
          </ac:graphicFrameMkLst>
        </pc:graphicFrameChg>
      </pc:sldChg>
      <pc:sldChg chg="delSp modSp add mod">
        <pc:chgData name="Ogundairo, Sunmisola" userId="ca9d8627-40bc-4f68-b59e-d13554e1af79" providerId="ADAL" clId="{EBDB7F11-A6B6-4089-9396-A9E55F1D6E6F}" dt="2023-03-31T13:01:11.328" v="7411" actId="20577"/>
        <pc:sldMkLst>
          <pc:docMk/>
          <pc:sldMk cId="728471607" sldId="1792"/>
        </pc:sldMkLst>
        <pc:spChg chg="mod">
          <ac:chgData name="Ogundairo, Sunmisola" userId="ca9d8627-40bc-4f68-b59e-d13554e1af79" providerId="ADAL" clId="{EBDB7F11-A6B6-4089-9396-A9E55F1D6E6F}" dt="2023-03-28T20:28:58.187" v="2089" actId="313"/>
          <ac:spMkLst>
            <pc:docMk/>
            <pc:sldMk cId="728471607" sldId="1792"/>
            <ac:spMk id="2" creationId="{00000000-0000-0000-0000-000000000000}"/>
          </ac:spMkLst>
        </pc:spChg>
        <pc:spChg chg="mod">
          <ac:chgData name="Ogundairo, Sunmisola" userId="ca9d8627-40bc-4f68-b59e-d13554e1af79" providerId="ADAL" clId="{EBDB7F11-A6B6-4089-9396-A9E55F1D6E6F}" dt="2023-03-31T13:01:11.328" v="7411" actId="20577"/>
          <ac:spMkLst>
            <pc:docMk/>
            <pc:sldMk cId="728471607" sldId="1792"/>
            <ac:spMk id="3" creationId="{00000000-0000-0000-0000-000000000000}"/>
          </ac:spMkLst>
        </pc:spChg>
        <pc:spChg chg="del mod">
          <ac:chgData name="Ogundairo, Sunmisola" userId="ca9d8627-40bc-4f68-b59e-d13554e1af79" providerId="ADAL" clId="{EBDB7F11-A6B6-4089-9396-A9E55F1D6E6F}" dt="2023-03-28T20:29:03.951" v="2092" actId="478"/>
          <ac:spMkLst>
            <pc:docMk/>
            <pc:sldMk cId="728471607" sldId="1792"/>
            <ac:spMk id="20" creationId="{9496BD72-763C-499E-931B-62992A627EC1}"/>
          </ac:spMkLst>
        </pc:spChg>
        <pc:spChg chg="del">
          <ac:chgData name="Ogundairo, Sunmisola" userId="ca9d8627-40bc-4f68-b59e-d13554e1af79" providerId="ADAL" clId="{EBDB7F11-A6B6-4089-9396-A9E55F1D6E6F}" dt="2023-03-28T20:29:07.190" v="2093" actId="478"/>
          <ac:spMkLst>
            <pc:docMk/>
            <pc:sldMk cId="728471607" sldId="1792"/>
            <ac:spMk id="21" creationId="{3AB12EE5-0784-4A95-B821-3FFE6527ED33}"/>
          </ac:spMkLst>
        </pc:spChg>
        <pc:picChg chg="del">
          <ac:chgData name="Ogundairo, Sunmisola" userId="ca9d8627-40bc-4f68-b59e-d13554e1af79" providerId="ADAL" clId="{EBDB7F11-A6B6-4089-9396-A9E55F1D6E6F}" dt="2023-03-28T20:29:00.141" v="2090" actId="478"/>
          <ac:picMkLst>
            <pc:docMk/>
            <pc:sldMk cId="728471607" sldId="1792"/>
            <ac:picMk id="8" creationId="{014AB76B-C95E-423B-962A-9AAEC34C0A55}"/>
          </ac:picMkLst>
        </pc:picChg>
      </pc:sldChg>
      <pc:sldChg chg="modSp del mod">
        <pc:chgData name="Ogundairo, Sunmisola" userId="ca9d8627-40bc-4f68-b59e-d13554e1af79" providerId="ADAL" clId="{EBDB7F11-A6B6-4089-9396-A9E55F1D6E6F}" dt="2023-03-28T16:49:51.750" v="657" actId="2696"/>
        <pc:sldMkLst>
          <pc:docMk/>
          <pc:sldMk cId="2953990269" sldId="1792"/>
        </pc:sldMkLst>
        <pc:picChg chg="mod">
          <ac:chgData name="Ogundairo, Sunmisola" userId="ca9d8627-40bc-4f68-b59e-d13554e1af79" providerId="ADAL" clId="{EBDB7F11-A6B6-4089-9396-A9E55F1D6E6F}" dt="2023-03-28T15:17:14.935" v="1" actId="1076"/>
          <ac:picMkLst>
            <pc:docMk/>
            <pc:sldMk cId="2953990269" sldId="1792"/>
            <ac:picMk id="8" creationId="{1B670DEC-C3F2-42B3-BBFA-9E0E211A812C}"/>
          </ac:picMkLst>
        </pc:picChg>
      </pc:sldChg>
      <pc:sldChg chg="addSp delSp modSp add del mod">
        <pc:chgData name="Ogundairo, Sunmisola" userId="ca9d8627-40bc-4f68-b59e-d13554e1af79" providerId="ADAL" clId="{EBDB7F11-A6B6-4089-9396-A9E55F1D6E6F}" dt="2023-03-29T19:30:51.826" v="4505" actId="2696"/>
        <pc:sldMkLst>
          <pc:docMk/>
          <pc:sldMk cId="2189993635" sldId="1793"/>
        </pc:sldMkLst>
        <pc:spChg chg="mod">
          <ac:chgData name="Ogundairo, Sunmisola" userId="ca9d8627-40bc-4f68-b59e-d13554e1af79" providerId="ADAL" clId="{EBDB7F11-A6B6-4089-9396-A9E55F1D6E6F}" dt="2023-03-29T19:09:38.095" v="3899" actId="164"/>
          <ac:spMkLst>
            <pc:docMk/>
            <pc:sldMk cId="2189993635" sldId="1793"/>
            <ac:spMk id="7" creationId="{00000000-0000-0000-0000-000000000000}"/>
          </ac:spMkLst>
        </pc:spChg>
        <pc:spChg chg="add mod">
          <ac:chgData name="Ogundairo, Sunmisola" userId="ca9d8627-40bc-4f68-b59e-d13554e1af79" providerId="ADAL" clId="{EBDB7F11-A6B6-4089-9396-A9E55F1D6E6F}" dt="2023-03-29T19:29:30.029" v="4500" actId="20577"/>
          <ac:spMkLst>
            <pc:docMk/>
            <pc:sldMk cId="2189993635" sldId="1793"/>
            <ac:spMk id="21" creationId="{45E0D6B4-7BDF-4A3F-A555-133166E38DF1}"/>
          </ac:spMkLst>
        </pc:spChg>
        <pc:spChg chg="add del mod">
          <ac:chgData name="Ogundairo, Sunmisola" userId="ca9d8627-40bc-4f68-b59e-d13554e1af79" providerId="ADAL" clId="{EBDB7F11-A6B6-4089-9396-A9E55F1D6E6F}" dt="2023-03-29T19:18:58.972" v="4251" actId="313"/>
          <ac:spMkLst>
            <pc:docMk/>
            <pc:sldMk cId="2189993635" sldId="1793"/>
            <ac:spMk id="24" creationId="{00000000-0000-0000-0000-000000000000}"/>
          </ac:spMkLst>
        </pc:spChg>
        <pc:spChg chg="mod">
          <ac:chgData name="Ogundairo, Sunmisola" userId="ca9d8627-40bc-4f68-b59e-d13554e1af79" providerId="ADAL" clId="{EBDB7F11-A6B6-4089-9396-A9E55F1D6E6F}" dt="2023-03-29T19:16:51.421" v="4163" actId="14100"/>
          <ac:spMkLst>
            <pc:docMk/>
            <pc:sldMk cId="2189993635" sldId="1793"/>
            <ac:spMk id="25" creationId="{00000000-0000-0000-0000-000000000000}"/>
          </ac:spMkLst>
        </pc:spChg>
        <pc:spChg chg="del">
          <ac:chgData name="Ogundairo, Sunmisola" userId="ca9d8627-40bc-4f68-b59e-d13554e1af79" providerId="ADAL" clId="{EBDB7F11-A6B6-4089-9396-A9E55F1D6E6F}" dt="2023-03-29T19:09:17.303" v="3897" actId="478"/>
          <ac:spMkLst>
            <pc:docMk/>
            <pc:sldMk cId="2189993635" sldId="1793"/>
            <ac:spMk id="27" creationId="{00000000-0000-0000-0000-000000000000}"/>
          </ac:spMkLst>
        </pc:spChg>
        <pc:spChg chg="del">
          <ac:chgData name="Ogundairo, Sunmisola" userId="ca9d8627-40bc-4f68-b59e-d13554e1af79" providerId="ADAL" clId="{EBDB7F11-A6B6-4089-9396-A9E55F1D6E6F}" dt="2023-03-29T19:09:20.023" v="3898" actId="478"/>
          <ac:spMkLst>
            <pc:docMk/>
            <pc:sldMk cId="2189993635" sldId="1793"/>
            <ac:spMk id="28" creationId="{00000000-0000-0000-0000-000000000000}"/>
          </ac:spMkLst>
        </pc:spChg>
        <pc:spChg chg="mod">
          <ac:chgData name="Ogundairo, Sunmisola" userId="ca9d8627-40bc-4f68-b59e-d13554e1af79" providerId="ADAL" clId="{EBDB7F11-A6B6-4089-9396-A9E55F1D6E6F}" dt="2023-03-29T19:25:48.466" v="4332" actId="20577"/>
          <ac:spMkLst>
            <pc:docMk/>
            <pc:sldMk cId="2189993635" sldId="1793"/>
            <ac:spMk id="29" creationId="{00000000-0000-0000-0000-000000000000}"/>
          </ac:spMkLst>
        </pc:spChg>
        <pc:spChg chg="mod">
          <ac:chgData name="Ogundairo, Sunmisola" userId="ca9d8627-40bc-4f68-b59e-d13554e1af79" providerId="ADAL" clId="{EBDB7F11-A6B6-4089-9396-A9E55F1D6E6F}" dt="2023-03-29T19:15:37.046" v="4154" actId="164"/>
          <ac:spMkLst>
            <pc:docMk/>
            <pc:sldMk cId="2189993635" sldId="1793"/>
            <ac:spMk id="30"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1"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5"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6"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7"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8"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39" creationId="{00000000-0000-0000-0000-000000000000}"/>
          </ac:spMkLst>
        </pc:spChg>
        <pc:spChg chg="del">
          <ac:chgData name="Ogundairo, Sunmisola" userId="ca9d8627-40bc-4f68-b59e-d13554e1af79" providerId="ADAL" clId="{EBDB7F11-A6B6-4089-9396-A9E55F1D6E6F}" dt="2023-03-29T19:09:14.788" v="3896" actId="478"/>
          <ac:spMkLst>
            <pc:docMk/>
            <pc:sldMk cId="2189993635" sldId="1793"/>
            <ac:spMk id="40"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44"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45" creationId="{00000000-0000-0000-0000-000000000000}"/>
          </ac:spMkLst>
        </pc:spChg>
        <pc:spChg chg="del">
          <ac:chgData name="Ogundairo, Sunmisola" userId="ca9d8627-40bc-4f68-b59e-d13554e1af79" providerId="ADAL" clId="{EBDB7F11-A6B6-4089-9396-A9E55F1D6E6F}" dt="2023-03-29T19:15:28.123" v="4153" actId="478"/>
          <ac:spMkLst>
            <pc:docMk/>
            <pc:sldMk cId="2189993635" sldId="1793"/>
            <ac:spMk id="46" creationId="{00000000-0000-0000-0000-000000000000}"/>
          </ac:spMkLst>
        </pc:spChg>
        <pc:spChg chg="mod">
          <ac:chgData name="Ogundairo, Sunmisola" userId="ca9d8627-40bc-4f68-b59e-d13554e1af79" providerId="ADAL" clId="{EBDB7F11-A6B6-4089-9396-A9E55F1D6E6F}" dt="2023-03-29T19:28:04.692" v="4454" actId="113"/>
          <ac:spMkLst>
            <pc:docMk/>
            <pc:sldMk cId="2189993635" sldId="1793"/>
            <ac:spMk id="240645" creationId="{00000000-0000-0000-0000-000000000000}"/>
          </ac:spMkLst>
        </pc:spChg>
        <pc:grpChg chg="add mod">
          <ac:chgData name="Ogundairo, Sunmisola" userId="ca9d8627-40bc-4f68-b59e-d13554e1af79" providerId="ADAL" clId="{EBDB7F11-A6B6-4089-9396-A9E55F1D6E6F}" dt="2023-03-29T19:29:57.949" v="4502" actId="14100"/>
          <ac:grpSpMkLst>
            <pc:docMk/>
            <pc:sldMk cId="2189993635" sldId="1793"/>
            <ac:grpSpMk id="2" creationId="{47F73C8A-6791-4C2F-8836-29FEA357BA99}"/>
          </ac:grpSpMkLst>
        </pc:grpChg>
        <pc:grpChg chg="add mod">
          <ac:chgData name="Ogundairo, Sunmisola" userId="ca9d8627-40bc-4f68-b59e-d13554e1af79" providerId="ADAL" clId="{EBDB7F11-A6B6-4089-9396-A9E55F1D6E6F}" dt="2023-03-29T19:29:52.286" v="4501" actId="14100"/>
          <ac:grpSpMkLst>
            <pc:docMk/>
            <pc:sldMk cId="2189993635" sldId="1793"/>
            <ac:grpSpMk id="3" creationId="{929FDC7D-93E2-4179-8B1F-4204286AD97E}"/>
          </ac:grpSpMkLst>
        </pc:grpChg>
      </pc:sldChg>
      <pc:sldChg chg="modSp add del mod">
        <pc:chgData name="Ogundairo, Sunmisola" userId="ca9d8627-40bc-4f68-b59e-d13554e1af79" providerId="ADAL" clId="{EBDB7F11-A6B6-4089-9396-A9E55F1D6E6F}" dt="2023-03-30T08:58:28.941" v="5336" actId="47"/>
        <pc:sldMkLst>
          <pc:docMk/>
          <pc:sldMk cId="3054508634" sldId="1794"/>
        </pc:sldMkLst>
        <pc:spChg chg="mod">
          <ac:chgData name="Ogundairo, Sunmisola" userId="ca9d8627-40bc-4f68-b59e-d13554e1af79" providerId="ADAL" clId="{EBDB7F11-A6B6-4089-9396-A9E55F1D6E6F}" dt="2023-03-29T19:30:24.184" v="4504"/>
          <ac:spMkLst>
            <pc:docMk/>
            <pc:sldMk cId="3054508634" sldId="1794"/>
            <ac:spMk id="21" creationId="{45E0D6B4-7BDF-4A3F-A555-133166E38DF1}"/>
          </ac:spMkLst>
        </pc:spChg>
        <pc:spChg chg="mod">
          <ac:chgData name="Ogundairo, Sunmisola" userId="ca9d8627-40bc-4f68-b59e-d13554e1af79" providerId="ADAL" clId="{EBDB7F11-A6B6-4089-9396-A9E55F1D6E6F}" dt="2023-03-30T08:58:09.649" v="5335" actId="20577"/>
          <ac:spMkLst>
            <pc:docMk/>
            <pc:sldMk cId="3054508634" sldId="1794"/>
            <ac:spMk id="240645" creationId="{00000000-0000-0000-0000-000000000000}"/>
          </ac:spMkLst>
        </pc:spChg>
        <pc:grpChg chg="mod">
          <ac:chgData name="Ogundairo, Sunmisola" userId="ca9d8627-40bc-4f68-b59e-d13554e1af79" providerId="ADAL" clId="{EBDB7F11-A6B6-4089-9396-A9E55F1D6E6F}" dt="2023-03-30T08:19:22.634" v="4775" actId="1035"/>
          <ac:grpSpMkLst>
            <pc:docMk/>
            <pc:sldMk cId="3054508634" sldId="1794"/>
            <ac:grpSpMk id="2" creationId="{47F73C8A-6791-4C2F-8836-29FEA357BA99}"/>
          </ac:grpSpMkLst>
        </pc:grpChg>
        <pc:grpChg chg="mod">
          <ac:chgData name="Ogundairo, Sunmisola" userId="ca9d8627-40bc-4f68-b59e-d13554e1af79" providerId="ADAL" clId="{EBDB7F11-A6B6-4089-9396-A9E55F1D6E6F}" dt="2023-03-30T08:19:35.056" v="4808" actId="1036"/>
          <ac:grpSpMkLst>
            <pc:docMk/>
            <pc:sldMk cId="3054508634" sldId="1794"/>
            <ac:grpSpMk id="3" creationId="{929FDC7D-93E2-4179-8B1F-4204286AD97E}"/>
          </ac:grpSpMkLst>
        </pc:grpChg>
      </pc:sldChg>
      <pc:sldChg chg="modSp add del mod">
        <pc:chgData name="Ogundairo, Sunmisola" userId="ca9d8627-40bc-4f68-b59e-d13554e1af79" providerId="ADAL" clId="{EBDB7F11-A6B6-4089-9396-A9E55F1D6E6F}" dt="2023-03-30T08:19:58.059" v="4809" actId="2696"/>
        <pc:sldMkLst>
          <pc:docMk/>
          <pc:sldMk cId="3232047598" sldId="1795"/>
        </pc:sldMkLst>
        <pc:spChg chg="mod">
          <ac:chgData name="Ogundairo, Sunmisola" userId="ca9d8627-40bc-4f68-b59e-d13554e1af79" providerId="ADAL" clId="{EBDB7F11-A6B6-4089-9396-A9E55F1D6E6F}" dt="2023-03-29T19:21:01.185" v="4300" actId="20577"/>
          <ac:spMkLst>
            <pc:docMk/>
            <pc:sldMk cId="3232047598" sldId="1795"/>
            <ac:spMk id="21" creationId="{45E0D6B4-7BDF-4A3F-A555-133166E38DF1}"/>
          </ac:spMkLst>
        </pc:spChg>
        <pc:spChg chg="mod">
          <ac:chgData name="Ogundairo, Sunmisola" userId="ca9d8627-40bc-4f68-b59e-d13554e1af79" providerId="ADAL" clId="{EBDB7F11-A6B6-4089-9396-A9E55F1D6E6F}" dt="2023-03-29T19:27:49.137" v="4452" actId="113"/>
          <ac:spMkLst>
            <pc:docMk/>
            <pc:sldMk cId="3232047598" sldId="1795"/>
            <ac:spMk id="240645" creationId="{00000000-0000-0000-0000-000000000000}"/>
          </ac:spMkLst>
        </pc:spChg>
      </pc:sldChg>
      <pc:sldChg chg="modSp add del mod">
        <pc:chgData name="Ogundairo, Sunmisola" userId="ca9d8627-40bc-4f68-b59e-d13554e1af79" providerId="ADAL" clId="{EBDB7F11-A6B6-4089-9396-A9E55F1D6E6F}" dt="2023-03-30T08:20:51.775" v="4867" actId="2696"/>
        <pc:sldMkLst>
          <pc:docMk/>
          <pc:sldMk cId="2861125221" sldId="1796"/>
        </pc:sldMkLst>
        <pc:spChg chg="mod">
          <ac:chgData name="Ogundairo, Sunmisola" userId="ca9d8627-40bc-4f68-b59e-d13554e1af79" providerId="ADAL" clId="{EBDB7F11-A6B6-4089-9396-A9E55F1D6E6F}" dt="2023-03-29T19:21:19.193" v="4307" actId="20577"/>
          <ac:spMkLst>
            <pc:docMk/>
            <pc:sldMk cId="2861125221" sldId="1796"/>
            <ac:spMk id="21" creationId="{45E0D6B4-7BDF-4A3F-A555-133166E38DF1}"/>
          </ac:spMkLst>
        </pc:spChg>
        <pc:spChg chg="mod">
          <ac:chgData name="Ogundairo, Sunmisola" userId="ca9d8627-40bc-4f68-b59e-d13554e1af79" providerId="ADAL" clId="{EBDB7F11-A6B6-4089-9396-A9E55F1D6E6F}" dt="2023-03-29T19:28:48.900" v="4477" actId="20577"/>
          <ac:spMkLst>
            <pc:docMk/>
            <pc:sldMk cId="2861125221" sldId="1796"/>
            <ac:spMk id="240645" creationId="{00000000-0000-0000-0000-000000000000}"/>
          </ac:spMkLst>
        </pc:spChg>
      </pc:sldChg>
      <pc:sldChg chg="addSp delSp modSp add del mod">
        <pc:chgData name="Ogundairo, Sunmisola" userId="ca9d8627-40bc-4f68-b59e-d13554e1af79" providerId="ADAL" clId="{EBDB7F11-A6B6-4089-9396-A9E55F1D6E6F}" dt="2023-03-30T08:58:28.941" v="5336" actId="47"/>
        <pc:sldMkLst>
          <pc:docMk/>
          <pc:sldMk cId="863662618" sldId="1797"/>
        </pc:sldMkLst>
        <pc:spChg chg="mod">
          <ac:chgData name="Ogundairo, Sunmisola" userId="ca9d8627-40bc-4f68-b59e-d13554e1af79" providerId="ADAL" clId="{EBDB7F11-A6B6-4089-9396-A9E55F1D6E6F}" dt="2023-03-29T19:33:30.267" v="4556" actId="1076"/>
          <ac:spMkLst>
            <pc:docMk/>
            <pc:sldMk cId="863662618" sldId="1797"/>
            <ac:spMk id="12" creationId="{7A4F515D-DA6E-4B5C-9068-A28CA284C1F1}"/>
          </ac:spMkLst>
        </pc:spChg>
        <pc:spChg chg="mod">
          <ac:chgData name="Ogundairo, Sunmisola" userId="ca9d8627-40bc-4f68-b59e-d13554e1af79" providerId="ADAL" clId="{EBDB7F11-A6B6-4089-9396-A9E55F1D6E6F}" dt="2023-03-29T19:33:31.687" v="4557" actId="14100"/>
          <ac:spMkLst>
            <pc:docMk/>
            <pc:sldMk cId="863662618" sldId="1797"/>
            <ac:spMk id="13" creationId="{5BA96244-7052-404B-BD18-F25D6D79B1E4}"/>
          </ac:spMkLst>
        </pc:spChg>
        <pc:spChg chg="mod">
          <ac:chgData name="Ogundairo, Sunmisola" userId="ca9d8627-40bc-4f68-b59e-d13554e1af79" providerId="ADAL" clId="{EBDB7F11-A6B6-4089-9396-A9E55F1D6E6F}" dt="2023-03-29T19:32:48.708" v="4547" actId="1076"/>
          <ac:spMkLst>
            <pc:docMk/>
            <pc:sldMk cId="863662618" sldId="1797"/>
            <ac:spMk id="15" creationId="{E5DF202D-6E15-48DE-A443-842EB5F92BAB}"/>
          </ac:spMkLst>
        </pc:spChg>
        <pc:spChg chg="mod">
          <ac:chgData name="Ogundairo, Sunmisola" userId="ca9d8627-40bc-4f68-b59e-d13554e1af79" providerId="ADAL" clId="{EBDB7F11-A6B6-4089-9396-A9E55F1D6E6F}" dt="2023-03-29T19:32:21.623" v="4542"/>
          <ac:spMkLst>
            <pc:docMk/>
            <pc:sldMk cId="863662618" sldId="1797"/>
            <ac:spMk id="16" creationId="{00F6AADB-2798-4448-BF90-485B31D8BC3C}"/>
          </ac:spMkLst>
        </pc:spChg>
        <pc:spChg chg="mod">
          <ac:chgData name="Ogundairo, Sunmisola" userId="ca9d8627-40bc-4f68-b59e-d13554e1af79" providerId="ADAL" clId="{EBDB7F11-A6B6-4089-9396-A9E55F1D6E6F}" dt="2023-03-29T19:32:21.623" v="4542"/>
          <ac:spMkLst>
            <pc:docMk/>
            <pc:sldMk cId="863662618" sldId="1797"/>
            <ac:spMk id="17" creationId="{DA8A96EF-EC07-48F3-A9D1-752A704E913B}"/>
          </ac:spMkLst>
        </pc:spChg>
        <pc:spChg chg="mod">
          <ac:chgData name="Ogundairo, Sunmisola" userId="ca9d8627-40bc-4f68-b59e-d13554e1af79" providerId="ADAL" clId="{EBDB7F11-A6B6-4089-9396-A9E55F1D6E6F}" dt="2023-03-29T19:33:36.277" v="4558"/>
          <ac:spMkLst>
            <pc:docMk/>
            <pc:sldMk cId="863662618" sldId="1797"/>
            <ac:spMk id="19" creationId="{010426F1-7BEE-4FDF-937C-20B680B4038A}"/>
          </ac:spMkLst>
        </pc:spChg>
        <pc:spChg chg="mod">
          <ac:chgData name="Ogundairo, Sunmisola" userId="ca9d8627-40bc-4f68-b59e-d13554e1af79" providerId="ADAL" clId="{EBDB7F11-A6B6-4089-9396-A9E55F1D6E6F}" dt="2023-03-29T19:33:49.946" v="4561" actId="1076"/>
          <ac:spMkLst>
            <pc:docMk/>
            <pc:sldMk cId="863662618" sldId="1797"/>
            <ac:spMk id="20" creationId="{89AE1193-5FA7-47D6-AFE2-2954BCC5D804}"/>
          </ac:spMkLst>
        </pc:spChg>
        <pc:spChg chg="mod">
          <ac:chgData name="Ogundairo, Sunmisola" userId="ca9d8627-40bc-4f68-b59e-d13554e1af79" providerId="ADAL" clId="{EBDB7F11-A6B6-4089-9396-A9E55F1D6E6F}" dt="2023-03-29T19:41:24.822" v="4569"/>
          <ac:spMkLst>
            <pc:docMk/>
            <pc:sldMk cId="863662618" sldId="1797"/>
            <ac:spMk id="23" creationId="{A565870D-EC09-4E47-9BAD-D751453490F9}"/>
          </ac:spMkLst>
        </pc:spChg>
        <pc:spChg chg="mod">
          <ac:chgData name="Ogundairo, Sunmisola" userId="ca9d8627-40bc-4f68-b59e-d13554e1af79" providerId="ADAL" clId="{EBDB7F11-A6B6-4089-9396-A9E55F1D6E6F}" dt="2023-03-29T19:41:24.822" v="4569"/>
          <ac:spMkLst>
            <pc:docMk/>
            <pc:sldMk cId="863662618" sldId="1797"/>
            <ac:spMk id="26" creationId="{C3A5C9C6-163A-4F48-82A5-3EB46E95674A}"/>
          </ac:spMkLst>
        </pc:spChg>
        <pc:spChg chg="mod">
          <ac:chgData name="Ogundairo, Sunmisola" userId="ca9d8627-40bc-4f68-b59e-d13554e1af79" providerId="ADAL" clId="{EBDB7F11-A6B6-4089-9396-A9E55F1D6E6F}" dt="2023-03-29T19:41:24.822" v="4569"/>
          <ac:spMkLst>
            <pc:docMk/>
            <pc:sldMk cId="863662618" sldId="1797"/>
            <ac:spMk id="27" creationId="{3E0E12F0-D3CD-4796-BE0F-5EFD588E78B3}"/>
          </ac:spMkLst>
        </pc:spChg>
        <pc:spChg chg="mod">
          <ac:chgData name="Ogundairo, Sunmisola" userId="ca9d8627-40bc-4f68-b59e-d13554e1af79" providerId="ADAL" clId="{EBDB7F11-A6B6-4089-9396-A9E55F1D6E6F}" dt="2023-03-29T19:31:38.103" v="4524" actId="20577"/>
          <ac:spMkLst>
            <pc:docMk/>
            <pc:sldMk cId="863662618" sldId="1797"/>
            <ac:spMk id="29" creationId="{00000000-0000-0000-0000-000000000000}"/>
          </ac:spMkLst>
        </pc:spChg>
        <pc:spChg chg="mod">
          <ac:chgData name="Ogundairo, Sunmisola" userId="ca9d8627-40bc-4f68-b59e-d13554e1af79" providerId="ADAL" clId="{EBDB7F11-A6B6-4089-9396-A9E55F1D6E6F}" dt="2023-03-29T19:42:09.882" v="4652"/>
          <ac:spMkLst>
            <pc:docMk/>
            <pc:sldMk cId="863662618" sldId="1797"/>
            <ac:spMk id="31" creationId="{80C34A35-E73C-446D-973B-4F41B6D9BC69}"/>
          </ac:spMkLst>
        </pc:spChg>
        <pc:spChg chg="mod">
          <ac:chgData name="Ogundairo, Sunmisola" userId="ca9d8627-40bc-4f68-b59e-d13554e1af79" providerId="ADAL" clId="{EBDB7F11-A6B6-4089-9396-A9E55F1D6E6F}" dt="2023-03-29T19:42:09.882" v="4652"/>
          <ac:spMkLst>
            <pc:docMk/>
            <pc:sldMk cId="863662618" sldId="1797"/>
            <ac:spMk id="32" creationId="{81438EF3-3EF6-4935-8962-8067AE81E0FE}"/>
          </ac:spMkLst>
        </pc:spChg>
        <pc:spChg chg="mod">
          <ac:chgData name="Ogundairo, Sunmisola" userId="ca9d8627-40bc-4f68-b59e-d13554e1af79" providerId="ADAL" clId="{EBDB7F11-A6B6-4089-9396-A9E55F1D6E6F}" dt="2023-03-30T08:21:22.653" v="4869" actId="20577"/>
          <ac:spMkLst>
            <pc:docMk/>
            <pc:sldMk cId="863662618" sldId="1797"/>
            <ac:spMk id="240645" creationId="{00000000-0000-0000-0000-000000000000}"/>
          </ac:spMkLst>
        </pc:spChg>
        <pc:grpChg chg="mod">
          <ac:chgData name="Ogundairo, Sunmisola" userId="ca9d8627-40bc-4f68-b59e-d13554e1af79" providerId="ADAL" clId="{EBDB7F11-A6B6-4089-9396-A9E55F1D6E6F}" dt="2023-03-29T19:41:18.094" v="4568" actId="1076"/>
          <ac:grpSpMkLst>
            <pc:docMk/>
            <pc:sldMk cId="863662618" sldId="1797"/>
            <ac:grpSpMk id="2" creationId="{47F73C8A-6791-4C2F-8836-29FEA357BA99}"/>
          </ac:grpSpMkLst>
        </pc:grpChg>
        <pc:grpChg chg="mod">
          <ac:chgData name="Ogundairo, Sunmisola" userId="ca9d8627-40bc-4f68-b59e-d13554e1af79" providerId="ADAL" clId="{EBDB7F11-A6B6-4089-9396-A9E55F1D6E6F}" dt="2023-03-29T19:41:09.478" v="4567" actId="1076"/>
          <ac:grpSpMkLst>
            <pc:docMk/>
            <pc:sldMk cId="863662618" sldId="1797"/>
            <ac:grpSpMk id="3" creationId="{929FDC7D-93E2-4179-8B1F-4204286AD97E}"/>
          </ac:grpSpMkLst>
        </pc:grpChg>
        <pc:grpChg chg="add del mod">
          <ac:chgData name="Ogundairo, Sunmisola" userId="ca9d8627-40bc-4f68-b59e-d13554e1af79" providerId="ADAL" clId="{EBDB7F11-A6B6-4089-9396-A9E55F1D6E6F}" dt="2023-03-29T19:33:38.376" v="4559" actId="478"/>
          <ac:grpSpMkLst>
            <pc:docMk/>
            <pc:sldMk cId="863662618" sldId="1797"/>
            <ac:grpSpMk id="11" creationId="{355BE6B7-7204-4731-9CC2-C2E9FF928B05}"/>
          </ac:grpSpMkLst>
        </pc:grpChg>
        <pc:grpChg chg="add del mod">
          <ac:chgData name="Ogundairo, Sunmisola" userId="ca9d8627-40bc-4f68-b59e-d13554e1af79" providerId="ADAL" clId="{EBDB7F11-A6B6-4089-9396-A9E55F1D6E6F}" dt="2023-03-29T19:41:29.688" v="4570" actId="478"/>
          <ac:grpSpMkLst>
            <pc:docMk/>
            <pc:sldMk cId="863662618" sldId="1797"/>
            <ac:grpSpMk id="14" creationId="{E9F8CC84-A0FF-4973-8BA9-0E872D7F4AC2}"/>
          </ac:grpSpMkLst>
        </pc:grpChg>
        <pc:grpChg chg="add del mod">
          <ac:chgData name="Ogundairo, Sunmisola" userId="ca9d8627-40bc-4f68-b59e-d13554e1af79" providerId="ADAL" clId="{EBDB7F11-A6B6-4089-9396-A9E55F1D6E6F}" dt="2023-03-29T19:42:06.204" v="4651" actId="478"/>
          <ac:grpSpMkLst>
            <pc:docMk/>
            <pc:sldMk cId="863662618" sldId="1797"/>
            <ac:grpSpMk id="18" creationId="{1947CFF7-0EEB-450B-B1D4-B870C1DC3774}"/>
          </ac:grpSpMkLst>
        </pc:grpChg>
        <pc:grpChg chg="add mod">
          <ac:chgData name="Ogundairo, Sunmisola" userId="ca9d8627-40bc-4f68-b59e-d13554e1af79" providerId="ADAL" clId="{EBDB7F11-A6B6-4089-9396-A9E55F1D6E6F}" dt="2023-03-29T19:41:55.519" v="4650" actId="1038"/>
          <ac:grpSpMkLst>
            <pc:docMk/>
            <pc:sldMk cId="863662618" sldId="1797"/>
            <ac:grpSpMk id="22" creationId="{3652A24B-6539-4F63-909A-95019B3315C9}"/>
          </ac:grpSpMkLst>
        </pc:grpChg>
        <pc:grpChg chg="add mod">
          <ac:chgData name="Ogundairo, Sunmisola" userId="ca9d8627-40bc-4f68-b59e-d13554e1af79" providerId="ADAL" clId="{EBDB7F11-A6B6-4089-9396-A9E55F1D6E6F}" dt="2023-03-29T19:45:06.834" v="4721" actId="1076"/>
          <ac:grpSpMkLst>
            <pc:docMk/>
            <pc:sldMk cId="863662618" sldId="1797"/>
            <ac:grpSpMk id="28" creationId="{7E9C9196-CC76-4F38-8285-5D9EF926DF94}"/>
          </ac:grpSpMkLst>
        </pc:grpChg>
      </pc:sldChg>
      <pc:sldChg chg="modSp add del mod ord">
        <pc:chgData name="Ogundairo, Sunmisola" userId="ca9d8627-40bc-4f68-b59e-d13554e1af79" providerId="ADAL" clId="{EBDB7F11-A6B6-4089-9396-A9E55F1D6E6F}" dt="2023-03-30T08:58:28.941" v="5336" actId="47"/>
        <pc:sldMkLst>
          <pc:docMk/>
          <pc:sldMk cId="1529926857" sldId="1798"/>
        </pc:sldMkLst>
        <pc:spChg chg="mod">
          <ac:chgData name="Ogundairo, Sunmisola" userId="ca9d8627-40bc-4f68-b59e-d13554e1af79" providerId="ADAL" clId="{EBDB7F11-A6B6-4089-9396-A9E55F1D6E6F}" dt="2023-03-30T08:20:44.401" v="4866" actId="20577"/>
          <ac:spMkLst>
            <pc:docMk/>
            <pc:sldMk cId="1529926857" sldId="1798"/>
            <ac:spMk id="21" creationId="{45E0D6B4-7BDF-4A3F-A555-133166E38DF1}"/>
          </ac:spMkLst>
        </pc:spChg>
      </pc:sldChg>
      <pc:sldChg chg="addSp delSp modSp add mod ord">
        <pc:chgData name="Ogundairo, Sunmisola" userId="ca9d8627-40bc-4f68-b59e-d13554e1af79" providerId="ADAL" clId="{EBDB7F11-A6B6-4089-9396-A9E55F1D6E6F}" dt="2023-03-30T08:38:56.832" v="4983" actId="14100"/>
        <pc:sldMkLst>
          <pc:docMk/>
          <pc:sldMk cId="3279722836" sldId="1799"/>
        </pc:sldMkLst>
        <pc:spChg chg="mod">
          <ac:chgData name="Ogundairo, Sunmisola" userId="ca9d8627-40bc-4f68-b59e-d13554e1af79" providerId="ADAL" clId="{EBDB7F11-A6B6-4089-9396-A9E55F1D6E6F}" dt="2023-03-30T08:33:17.579" v="4936" actId="20577"/>
          <ac:spMkLst>
            <pc:docMk/>
            <pc:sldMk cId="3279722836" sldId="1799"/>
            <ac:spMk id="2" creationId="{00000000-0000-0000-0000-000000000000}"/>
          </ac:spMkLst>
        </pc:spChg>
        <pc:spChg chg="del mod">
          <ac:chgData name="Ogundairo, Sunmisola" userId="ca9d8627-40bc-4f68-b59e-d13554e1af79" providerId="ADAL" clId="{EBDB7F11-A6B6-4089-9396-A9E55F1D6E6F}" dt="2023-03-30T08:32:54.686" v="4901" actId="478"/>
          <ac:spMkLst>
            <pc:docMk/>
            <pc:sldMk cId="3279722836" sldId="1799"/>
            <ac:spMk id="3" creationId="{00000000-0000-0000-0000-000000000000}"/>
          </ac:spMkLst>
        </pc:spChg>
        <pc:spChg chg="add del mod">
          <ac:chgData name="Ogundairo, Sunmisola" userId="ca9d8627-40bc-4f68-b59e-d13554e1af79" providerId="ADAL" clId="{EBDB7F11-A6B6-4089-9396-A9E55F1D6E6F}" dt="2023-03-30T08:34:00.449" v="4962" actId="478"/>
          <ac:spMkLst>
            <pc:docMk/>
            <pc:sldMk cId="3279722836" sldId="1799"/>
            <ac:spMk id="5" creationId="{92CB7D91-905B-4508-A7D1-12FF6FD421B5}"/>
          </ac:spMkLst>
        </pc:spChg>
        <pc:spChg chg="mod">
          <ac:chgData name="Ogundairo, Sunmisola" userId="ca9d8627-40bc-4f68-b59e-d13554e1af79" providerId="ADAL" clId="{EBDB7F11-A6B6-4089-9396-A9E55F1D6E6F}" dt="2023-03-30T08:34:03.976" v="4963" actId="313"/>
          <ac:spMkLst>
            <pc:docMk/>
            <pc:sldMk cId="3279722836" sldId="1799"/>
            <ac:spMk id="9" creationId="{26E5B06C-30B6-4735-85A4-2B742DA976A8}"/>
          </ac:spMkLst>
        </pc:spChg>
        <pc:spChg chg="mod">
          <ac:chgData name="Ogundairo, Sunmisola" userId="ca9d8627-40bc-4f68-b59e-d13554e1af79" providerId="ADAL" clId="{EBDB7F11-A6B6-4089-9396-A9E55F1D6E6F}" dt="2023-03-30T08:38:56.832" v="4983" actId="14100"/>
          <ac:spMkLst>
            <pc:docMk/>
            <pc:sldMk cId="3279722836" sldId="1799"/>
            <ac:spMk id="20" creationId="{9496BD72-763C-499E-931B-62992A627EC1}"/>
          </ac:spMkLst>
        </pc:spChg>
        <pc:spChg chg="del mod">
          <ac:chgData name="Ogundairo, Sunmisola" userId="ca9d8627-40bc-4f68-b59e-d13554e1af79" providerId="ADAL" clId="{EBDB7F11-A6B6-4089-9396-A9E55F1D6E6F}" dt="2023-03-30T08:38:51.983" v="4982" actId="478"/>
          <ac:spMkLst>
            <pc:docMk/>
            <pc:sldMk cId="3279722836" sldId="1799"/>
            <ac:spMk id="21" creationId="{3AB12EE5-0784-4A95-B821-3FFE6527ED33}"/>
          </ac:spMkLst>
        </pc:spChg>
        <pc:picChg chg="del">
          <ac:chgData name="Ogundairo, Sunmisola" userId="ca9d8627-40bc-4f68-b59e-d13554e1af79" providerId="ADAL" clId="{EBDB7F11-A6B6-4089-9396-A9E55F1D6E6F}" dt="2023-03-30T08:32:45.627" v="4899" actId="478"/>
          <ac:picMkLst>
            <pc:docMk/>
            <pc:sldMk cId="3279722836" sldId="1799"/>
            <ac:picMk id="8" creationId="{014AB76B-C95E-423B-962A-9AAEC34C0A55}"/>
          </ac:picMkLst>
        </pc:picChg>
      </pc:sldChg>
      <pc:sldChg chg="modSp add del mod setBg">
        <pc:chgData name="Ogundairo, Sunmisola" userId="ca9d8627-40bc-4f68-b59e-d13554e1af79" providerId="ADAL" clId="{EBDB7F11-A6B6-4089-9396-A9E55F1D6E6F}" dt="2023-03-30T08:53:25.058" v="5293"/>
        <pc:sldMkLst>
          <pc:docMk/>
          <pc:sldMk cId="1437167147" sldId="1800"/>
        </pc:sldMkLst>
        <pc:spChg chg="mod">
          <ac:chgData name="Ogundairo, Sunmisola" userId="ca9d8627-40bc-4f68-b59e-d13554e1af79" providerId="ADAL" clId="{EBDB7F11-A6B6-4089-9396-A9E55F1D6E6F}" dt="2023-03-30T08:50:33.511" v="5108" actId="1076"/>
          <ac:spMkLst>
            <pc:docMk/>
            <pc:sldMk cId="1437167147" sldId="1800"/>
            <ac:spMk id="3" creationId="{5CF52A8F-5168-4489-86F4-10C0DF212F13}"/>
          </ac:spMkLst>
        </pc:spChg>
        <pc:spChg chg="mod">
          <ac:chgData name="Ogundairo, Sunmisola" userId="ca9d8627-40bc-4f68-b59e-d13554e1af79" providerId="ADAL" clId="{EBDB7F11-A6B6-4089-9396-A9E55F1D6E6F}" dt="2023-03-30T08:50:34.313" v="5109" actId="207"/>
          <ac:spMkLst>
            <pc:docMk/>
            <pc:sldMk cId="1437167147" sldId="1800"/>
            <ac:spMk id="7" creationId="{979194AF-2EDE-466B-9C88-7DFEB74E91A1}"/>
          </ac:spMkLst>
        </pc:spChg>
        <pc:spChg chg="mod">
          <ac:chgData name="Ogundairo, Sunmisola" userId="ca9d8627-40bc-4f68-b59e-d13554e1af79" providerId="ADAL" clId="{EBDB7F11-A6B6-4089-9396-A9E55F1D6E6F}" dt="2023-03-30T08:50:35.140" v="5110" actId="207"/>
          <ac:spMkLst>
            <pc:docMk/>
            <pc:sldMk cId="1437167147" sldId="1800"/>
            <ac:spMk id="8" creationId="{8AECD474-D2C5-4E5F-B0DB-95193A98B3FD}"/>
          </ac:spMkLst>
        </pc:spChg>
        <pc:spChg chg="mod">
          <ac:chgData name="Ogundairo, Sunmisola" userId="ca9d8627-40bc-4f68-b59e-d13554e1af79" providerId="ADAL" clId="{EBDB7F11-A6B6-4089-9396-A9E55F1D6E6F}" dt="2023-03-30T08:50:35.920" v="5111" actId="207"/>
          <ac:spMkLst>
            <pc:docMk/>
            <pc:sldMk cId="1437167147" sldId="1800"/>
            <ac:spMk id="9" creationId="{99723836-A1F8-4FB6-9EF9-975A33F2C584}"/>
          </ac:spMkLst>
        </pc:spChg>
        <pc:spChg chg="mod">
          <ac:chgData name="Ogundairo, Sunmisola" userId="ca9d8627-40bc-4f68-b59e-d13554e1af79" providerId="ADAL" clId="{EBDB7F11-A6B6-4089-9396-A9E55F1D6E6F}" dt="2023-03-30T08:50:36.583" v="5112" actId="207"/>
          <ac:spMkLst>
            <pc:docMk/>
            <pc:sldMk cId="1437167147" sldId="1800"/>
            <ac:spMk id="10" creationId="{7A0946B8-3128-463A-9235-B2A69BAF904B}"/>
          </ac:spMkLst>
        </pc:spChg>
        <pc:spChg chg="mod">
          <ac:chgData name="Ogundairo, Sunmisola" userId="ca9d8627-40bc-4f68-b59e-d13554e1af79" providerId="ADAL" clId="{EBDB7F11-A6B6-4089-9396-A9E55F1D6E6F}" dt="2023-03-30T08:50:29.497" v="5103" actId="207"/>
          <ac:spMkLst>
            <pc:docMk/>
            <pc:sldMk cId="1437167147" sldId="1800"/>
            <ac:spMk id="44" creationId="{DC13E024-06F5-4919-9DB6-4AD09DBA2E38}"/>
          </ac:spMkLst>
        </pc:spChg>
        <pc:spChg chg="mod">
          <ac:chgData name="Ogundairo, Sunmisola" userId="ca9d8627-40bc-4f68-b59e-d13554e1af79" providerId="ADAL" clId="{EBDB7F11-A6B6-4089-9396-A9E55F1D6E6F}" dt="2023-03-30T08:50:31.120" v="5105" actId="207"/>
          <ac:spMkLst>
            <pc:docMk/>
            <pc:sldMk cId="1437167147" sldId="1800"/>
            <ac:spMk id="45" creationId="{31D9FA63-67A9-4702-B8D9-70C282E7D713}"/>
          </ac:spMkLst>
        </pc:spChg>
        <pc:spChg chg="mod">
          <ac:chgData name="Ogundairo, Sunmisola" userId="ca9d8627-40bc-4f68-b59e-d13554e1af79" providerId="ADAL" clId="{EBDB7F11-A6B6-4089-9396-A9E55F1D6E6F}" dt="2023-03-30T08:50:30.286" v="5104" actId="207"/>
          <ac:spMkLst>
            <pc:docMk/>
            <pc:sldMk cId="1437167147" sldId="1800"/>
            <ac:spMk id="46" creationId="{65B53DAE-766F-4986-8C1A-6A9127C520FE}"/>
          </ac:spMkLst>
        </pc:spChg>
        <pc:spChg chg="mod">
          <ac:chgData name="Ogundairo, Sunmisola" userId="ca9d8627-40bc-4f68-b59e-d13554e1af79" providerId="ADAL" clId="{EBDB7F11-A6B6-4089-9396-A9E55F1D6E6F}" dt="2023-03-30T08:53:22.907" v="5292" actId="207"/>
          <ac:spMkLst>
            <pc:docMk/>
            <pc:sldMk cId="1437167147" sldId="1800"/>
            <ac:spMk id="47" creationId="{E00D17FD-6450-4132-A7D8-E6B632330318}"/>
          </ac:spMkLst>
        </pc:spChg>
      </pc:sldChg>
      <pc:sldChg chg="addSp modSp add mod setBg">
        <pc:chgData name="Ogundairo, Sunmisola" userId="ca9d8627-40bc-4f68-b59e-d13554e1af79" providerId="ADAL" clId="{EBDB7F11-A6B6-4089-9396-A9E55F1D6E6F}" dt="2023-04-05T15:25:22.779" v="7886" actId="20577"/>
        <pc:sldMkLst>
          <pc:docMk/>
          <pc:sldMk cId="3118912705" sldId="1800"/>
        </pc:sldMkLst>
        <pc:spChg chg="mod">
          <ac:chgData name="Ogundairo, Sunmisola" userId="ca9d8627-40bc-4f68-b59e-d13554e1af79" providerId="ADAL" clId="{EBDB7F11-A6B6-4089-9396-A9E55F1D6E6F}" dt="2023-03-31T02:14:22.168" v="7058" actId="1076"/>
          <ac:spMkLst>
            <pc:docMk/>
            <pc:sldMk cId="3118912705" sldId="1800"/>
            <ac:spMk id="3" creationId="{5CF52A8F-5168-4489-86F4-10C0DF212F13}"/>
          </ac:spMkLst>
        </pc:spChg>
        <pc:spChg chg="mod">
          <ac:chgData name="Ogundairo, Sunmisola" userId="ca9d8627-40bc-4f68-b59e-d13554e1af79" providerId="ADAL" clId="{EBDB7F11-A6B6-4089-9396-A9E55F1D6E6F}" dt="2023-03-31T03:05:20.376" v="7273" actId="1036"/>
          <ac:spMkLst>
            <pc:docMk/>
            <pc:sldMk cId="3118912705" sldId="1800"/>
            <ac:spMk id="6" creationId="{E6D675EC-425C-4157-A4F5-9ABBC5F6AF8F}"/>
          </ac:spMkLst>
        </pc:spChg>
        <pc:spChg chg="mod">
          <ac:chgData name="Ogundairo, Sunmisola" userId="ca9d8627-40bc-4f68-b59e-d13554e1af79" providerId="ADAL" clId="{EBDB7F11-A6B6-4089-9396-A9E55F1D6E6F}" dt="2023-03-31T03:05:20.376" v="7273" actId="1036"/>
          <ac:spMkLst>
            <pc:docMk/>
            <pc:sldMk cId="3118912705" sldId="1800"/>
            <ac:spMk id="7" creationId="{979194AF-2EDE-466B-9C88-7DFEB74E91A1}"/>
          </ac:spMkLst>
        </pc:spChg>
        <pc:spChg chg="mod">
          <ac:chgData name="Ogundairo, Sunmisola" userId="ca9d8627-40bc-4f68-b59e-d13554e1af79" providerId="ADAL" clId="{EBDB7F11-A6B6-4089-9396-A9E55F1D6E6F}" dt="2023-03-31T03:05:20.376" v="7273" actId="1036"/>
          <ac:spMkLst>
            <pc:docMk/>
            <pc:sldMk cId="3118912705" sldId="1800"/>
            <ac:spMk id="8" creationId="{8AECD474-D2C5-4E5F-B0DB-95193A98B3FD}"/>
          </ac:spMkLst>
        </pc:spChg>
        <pc:spChg chg="mod">
          <ac:chgData name="Ogundairo, Sunmisola" userId="ca9d8627-40bc-4f68-b59e-d13554e1af79" providerId="ADAL" clId="{EBDB7F11-A6B6-4089-9396-A9E55F1D6E6F}" dt="2023-03-31T03:05:20.376" v="7273" actId="1036"/>
          <ac:spMkLst>
            <pc:docMk/>
            <pc:sldMk cId="3118912705" sldId="1800"/>
            <ac:spMk id="9" creationId="{99723836-A1F8-4FB6-9EF9-975A33F2C584}"/>
          </ac:spMkLst>
        </pc:spChg>
        <pc:spChg chg="mod">
          <ac:chgData name="Ogundairo, Sunmisola" userId="ca9d8627-40bc-4f68-b59e-d13554e1af79" providerId="ADAL" clId="{EBDB7F11-A6B6-4089-9396-A9E55F1D6E6F}" dt="2023-03-31T03:05:20.376" v="7273" actId="1036"/>
          <ac:spMkLst>
            <pc:docMk/>
            <pc:sldMk cId="3118912705" sldId="1800"/>
            <ac:spMk id="10" creationId="{7A0946B8-3128-463A-9235-B2A69BAF904B}"/>
          </ac:spMkLst>
        </pc:spChg>
        <pc:spChg chg="mod">
          <ac:chgData name="Ogundairo, Sunmisola" userId="ca9d8627-40bc-4f68-b59e-d13554e1af79" providerId="ADAL" clId="{EBDB7F11-A6B6-4089-9396-A9E55F1D6E6F}" dt="2023-03-31T03:05:20.376" v="7273" actId="1036"/>
          <ac:spMkLst>
            <pc:docMk/>
            <pc:sldMk cId="3118912705" sldId="1800"/>
            <ac:spMk id="11" creationId="{2EF68954-D221-457B-9936-F7D455DFE6F3}"/>
          </ac:spMkLst>
        </pc:spChg>
        <pc:spChg chg="mod">
          <ac:chgData name="Ogundairo, Sunmisola" userId="ca9d8627-40bc-4f68-b59e-d13554e1af79" providerId="ADAL" clId="{EBDB7F11-A6B6-4089-9396-A9E55F1D6E6F}" dt="2023-03-31T03:05:20.376" v="7273" actId="1036"/>
          <ac:spMkLst>
            <pc:docMk/>
            <pc:sldMk cId="3118912705" sldId="1800"/>
            <ac:spMk id="12" creationId="{7BCD2CF6-5479-4C60-BCEB-89E8BEE1AA5F}"/>
          </ac:spMkLst>
        </pc:spChg>
        <pc:spChg chg="mod">
          <ac:chgData name="Ogundairo, Sunmisola" userId="ca9d8627-40bc-4f68-b59e-d13554e1af79" providerId="ADAL" clId="{EBDB7F11-A6B6-4089-9396-A9E55F1D6E6F}" dt="2023-03-31T03:05:20.376" v="7273" actId="1036"/>
          <ac:spMkLst>
            <pc:docMk/>
            <pc:sldMk cId="3118912705" sldId="1800"/>
            <ac:spMk id="14" creationId="{44C4B3F0-D1A6-4C20-84E8-E0FFCB250F79}"/>
          </ac:spMkLst>
        </pc:spChg>
        <pc:spChg chg="mod">
          <ac:chgData name="Ogundairo, Sunmisola" userId="ca9d8627-40bc-4f68-b59e-d13554e1af79" providerId="ADAL" clId="{EBDB7F11-A6B6-4089-9396-A9E55F1D6E6F}" dt="2023-03-31T03:05:20.376" v="7273" actId="1036"/>
          <ac:spMkLst>
            <pc:docMk/>
            <pc:sldMk cId="3118912705" sldId="1800"/>
            <ac:spMk id="15" creationId="{3A32FC83-3C41-402D-A2AD-DDABC77F9E34}"/>
          </ac:spMkLst>
        </pc:spChg>
        <pc:spChg chg="mod">
          <ac:chgData name="Ogundairo, Sunmisola" userId="ca9d8627-40bc-4f68-b59e-d13554e1af79" providerId="ADAL" clId="{EBDB7F11-A6B6-4089-9396-A9E55F1D6E6F}" dt="2023-03-31T03:05:20.376" v="7273" actId="1036"/>
          <ac:spMkLst>
            <pc:docMk/>
            <pc:sldMk cId="3118912705" sldId="1800"/>
            <ac:spMk id="16" creationId="{36130F71-7ADE-45BD-8F81-67AFAB4B265D}"/>
          </ac:spMkLst>
        </pc:spChg>
        <pc:spChg chg="mod">
          <ac:chgData name="Ogundairo, Sunmisola" userId="ca9d8627-40bc-4f68-b59e-d13554e1af79" providerId="ADAL" clId="{EBDB7F11-A6B6-4089-9396-A9E55F1D6E6F}" dt="2023-03-31T03:05:20.376" v="7273" actId="1036"/>
          <ac:spMkLst>
            <pc:docMk/>
            <pc:sldMk cId="3118912705" sldId="1800"/>
            <ac:spMk id="17" creationId="{AD0A6879-2F53-45E6-91BD-4906244FEA9C}"/>
          </ac:spMkLst>
        </pc:spChg>
        <pc:spChg chg="mod">
          <ac:chgData name="Ogundairo, Sunmisola" userId="ca9d8627-40bc-4f68-b59e-d13554e1af79" providerId="ADAL" clId="{EBDB7F11-A6B6-4089-9396-A9E55F1D6E6F}" dt="2023-03-31T03:05:20.376" v="7273" actId="1036"/>
          <ac:spMkLst>
            <pc:docMk/>
            <pc:sldMk cId="3118912705" sldId="1800"/>
            <ac:spMk id="18" creationId="{E0D7A425-A48B-4EA1-8F82-C462A978B205}"/>
          </ac:spMkLst>
        </pc:spChg>
        <pc:spChg chg="mod">
          <ac:chgData name="Ogundairo, Sunmisola" userId="ca9d8627-40bc-4f68-b59e-d13554e1af79" providerId="ADAL" clId="{EBDB7F11-A6B6-4089-9396-A9E55F1D6E6F}" dt="2023-03-31T03:05:20.376" v="7273" actId="1036"/>
          <ac:spMkLst>
            <pc:docMk/>
            <pc:sldMk cId="3118912705" sldId="1800"/>
            <ac:spMk id="19" creationId="{2C6D883F-9675-4A1B-AD97-882EB211E3DF}"/>
          </ac:spMkLst>
        </pc:spChg>
        <pc:spChg chg="mod">
          <ac:chgData name="Ogundairo, Sunmisola" userId="ca9d8627-40bc-4f68-b59e-d13554e1af79" providerId="ADAL" clId="{EBDB7F11-A6B6-4089-9396-A9E55F1D6E6F}" dt="2023-03-31T03:05:20.376" v="7273" actId="1036"/>
          <ac:spMkLst>
            <pc:docMk/>
            <pc:sldMk cId="3118912705" sldId="1800"/>
            <ac:spMk id="20" creationId="{752AC34B-E4AF-4EE5-BEC5-28CE785FD42E}"/>
          </ac:spMkLst>
        </pc:spChg>
        <pc:spChg chg="mod">
          <ac:chgData name="Ogundairo, Sunmisola" userId="ca9d8627-40bc-4f68-b59e-d13554e1af79" providerId="ADAL" clId="{EBDB7F11-A6B6-4089-9396-A9E55F1D6E6F}" dt="2023-03-31T03:05:20.376" v="7273" actId="1036"/>
          <ac:spMkLst>
            <pc:docMk/>
            <pc:sldMk cId="3118912705" sldId="1800"/>
            <ac:spMk id="21" creationId="{22ADBE73-5A4E-4715-A583-63FA457EBB5F}"/>
          </ac:spMkLst>
        </pc:spChg>
        <pc:spChg chg="mod">
          <ac:chgData name="Ogundairo, Sunmisola" userId="ca9d8627-40bc-4f68-b59e-d13554e1af79" providerId="ADAL" clId="{EBDB7F11-A6B6-4089-9396-A9E55F1D6E6F}" dt="2023-03-31T03:05:20.376" v="7273" actId="1036"/>
          <ac:spMkLst>
            <pc:docMk/>
            <pc:sldMk cId="3118912705" sldId="1800"/>
            <ac:spMk id="22" creationId="{4B7FEB50-6EF2-47D3-8CB5-37CDC84068EC}"/>
          </ac:spMkLst>
        </pc:spChg>
        <pc:spChg chg="mod">
          <ac:chgData name="Ogundairo, Sunmisola" userId="ca9d8627-40bc-4f68-b59e-d13554e1af79" providerId="ADAL" clId="{EBDB7F11-A6B6-4089-9396-A9E55F1D6E6F}" dt="2023-03-31T03:05:20.376" v="7273" actId="1036"/>
          <ac:spMkLst>
            <pc:docMk/>
            <pc:sldMk cId="3118912705" sldId="1800"/>
            <ac:spMk id="23" creationId="{BB4FECCF-212B-435E-8F30-B30AC59B3325}"/>
          </ac:spMkLst>
        </pc:spChg>
        <pc:spChg chg="mod">
          <ac:chgData name="Ogundairo, Sunmisola" userId="ca9d8627-40bc-4f68-b59e-d13554e1af79" providerId="ADAL" clId="{EBDB7F11-A6B6-4089-9396-A9E55F1D6E6F}" dt="2023-03-31T03:05:20.376" v="7273" actId="1036"/>
          <ac:spMkLst>
            <pc:docMk/>
            <pc:sldMk cId="3118912705" sldId="1800"/>
            <ac:spMk id="24" creationId="{3B33CF3C-523E-4265-BC07-95B8EE1166CA}"/>
          </ac:spMkLst>
        </pc:spChg>
        <pc:spChg chg="mod">
          <ac:chgData name="Ogundairo, Sunmisola" userId="ca9d8627-40bc-4f68-b59e-d13554e1af79" providerId="ADAL" clId="{EBDB7F11-A6B6-4089-9396-A9E55F1D6E6F}" dt="2023-03-31T03:05:20.376" v="7273" actId="1036"/>
          <ac:spMkLst>
            <pc:docMk/>
            <pc:sldMk cId="3118912705" sldId="1800"/>
            <ac:spMk id="25" creationId="{E7733B74-3B50-4BCD-8CA9-296174C322BD}"/>
          </ac:spMkLst>
        </pc:spChg>
        <pc:spChg chg="mod">
          <ac:chgData name="Ogundairo, Sunmisola" userId="ca9d8627-40bc-4f68-b59e-d13554e1af79" providerId="ADAL" clId="{EBDB7F11-A6B6-4089-9396-A9E55F1D6E6F}" dt="2023-03-31T03:05:20.376" v="7273" actId="1036"/>
          <ac:spMkLst>
            <pc:docMk/>
            <pc:sldMk cId="3118912705" sldId="1800"/>
            <ac:spMk id="26" creationId="{53CEEE82-62B3-4C77-800B-8757535CEE48}"/>
          </ac:spMkLst>
        </pc:spChg>
        <pc:spChg chg="mod">
          <ac:chgData name="Ogundairo, Sunmisola" userId="ca9d8627-40bc-4f68-b59e-d13554e1af79" providerId="ADAL" clId="{EBDB7F11-A6B6-4089-9396-A9E55F1D6E6F}" dt="2023-03-31T03:05:20.376" v="7273" actId="1036"/>
          <ac:spMkLst>
            <pc:docMk/>
            <pc:sldMk cId="3118912705" sldId="1800"/>
            <ac:spMk id="28" creationId="{A7588C35-8019-4CDB-B846-F384C7884D89}"/>
          </ac:spMkLst>
        </pc:spChg>
        <pc:spChg chg="mod">
          <ac:chgData name="Ogundairo, Sunmisola" userId="ca9d8627-40bc-4f68-b59e-d13554e1af79" providerId="ADAL" clId="{EBDB7F11-A6B6-4089-9396-A9E55F1D6E6F}" dt="2023-03-31T03:05:20.376" v="7273" actId="1036"/>
          <ac:spMkLst>
            <pc:docMk/>
            <pc:sldMk cId="3118912705" sldId="1800"/>
            <ac:spMk id="29" creationId="{E228C174-738B-4A55-939E-AE32859ED6C8}"/>
          </ac:spMkLst>
        </pc:spChg>
        <pc:spChg chg="mod">
          <ac:chgData name="Ogundairo, Sunmisola" userId="ca9d8627-40bc-4f68-b59e-d13554e1af79" providerId="ADAL" clId="{EBDB7F11-A6B6-4089-9396-A9E55F1D6E6F}" dt="2023-03-31T03:05:20.376" v="7273" actId="1036"/>
          <ac:spMkLst>
            <pc:docMk/>
            <pc:sldMk cId="3118912705" sldId="1800"/>
            <ac:spMk id="30" creationId="{8D34F3E4-48FE-4225-8800-FC1B8CF46760}"/>
          </ac:spMkLst>
        </pc:spChg>
        <pc:spChg chg="mod">
          <ac:chgData name="Ogundairo, Sunmisola" userId="ca9d8627-40bc-4f68-b59e-d13554e1af79" providerId="ADAL" clId="{EBDB7F11-A6B6-4089-9396-A9E55F1D6E6F}" dt="2023-03-31T03:05:20.376" v="7273" actId="1036"/>
          <ac:spMkLst>
            <pc:docMk/>
            <pc:sldMk cId="3118912705" sldId="1800"/>
            <ac:spMk id="31" creationId="{43CB3395-BE95-451C-A5E4-7B2A559F7FEF}"/>
          </ac:spMkLst>
        </pc:spChg>
        <pc:spChg chg="mod">
          <ac:chgData name="Ogundairo, Sunmisola" userId="ca9d8627-40bc-4f68-b59e-d13554e1af79" providerId="ADAL" clId="{EBDB7F11-A6B6-4089-9396-A9E55F1D6E6F}" dt="2023-03-31T03:05:20.376" v="7273" actId="1036"/>
          <ac:spMkLst>
            <pc:docMk/>
            <pc:sldMk cId="3118912705" sldId="1800"/>
            <ac:spMk id="32" creationId="{068F4CD2-053F-4913-AD39-AA48C0F43783}"/>
          </ac:spMkLst>
        </pc:spChg>
        <pc:spChg chg="mod">
          <ac:chgData name="Ogundairo, Sunmisola" userId="ca9d8627-40bc-4f68-b59e-d13554e1af79" providerId="ADAL" clId="{EBDB7F11-A6B6-4089-9396-A9E55F1D6E6F}" dt="2023-03-31T03:05:20.376" v="7273" actId="1036"/>
          <ac:spMkLst>
            <pc:docMk/>
            <pc:sldMk cId="3118912705" sldId="1800"/>
            <ac:spMk id="33" creationId="{1A6D8EAC-1DE5-43A9-9261-AAA2B881A42E}"/>
          </ac:spMkLst>
        </pc:spChg>
        <pc:spChg chg="mod">
          <ac:chgData name="Ogundairo, Sunmisola" userId="ca9d8627-40bc-4f68-b59e-d13554e1af79" providerId="ADAL" clId="{EBDB7F11-A6B6-4089-9396-A9E55F1D6E6F}" dt="2023-03-31T03:05:20.376" v="7273" actId="1036"/>
          <ac:spMkLst>
            <pc:docMk/>
            <pc:sldMk cId="3118912705" sldId="1800"/>
            <ac:spMk id="34" creationId="{927E4C5C-26B7-4A7D-9C8C-E3CB18EF4716}"/>
          </ac:spMkLst>
        </pc:spChg>
        <pc:spChg chg="mod">
          <ac:chgData name="Ogundairo, Sunmisola" userId="ca9d8627-40bc-4f68-b59e-d13554e1af79" providerId="ADAL" clId="{EBDB7F11-A6B6-4089-9396-A9E55F1D6E6F}" dt="2023-03-31T03:05:20.376" v="7273" actId="1036"/>
          <ac:spMkLst>
            <pc:docMk/>
            <pc:sldMk cId="3118912705" sldId="1800"/>
            <ac:spMk id="35" creationId="{219F4FDD-5ABC-44BC-9236-81A20423966E}"/>
          </ac:spMkLst>
        </pc:spChg>
        <pc:spChg chg="mod">
          <ac:chgData name="Ogundairo, Sunmisola" userId="ca9d8627-40bc-4f68-b59e-d13554e1af79" providerId="ADAL" clId="{EBDB7F11-A6B6-4089-9396-A9E55F1D6E6F}" dt="2023-03-31T03:05:20.376" v="7273" actId="1036"/>
          <ac:spMkLst>
            <pc:docMk/>
            <pc:sldMk cId="3118912705" sldId="1800"/>
            <ac:spMk id="36" creationId="{A0E68430-C869-4BCC-850B-72863AEFB4AA}"/>
          </ac:spMkLst>
        </pc:spChg>
        <pc:spChg chg="mod">
          <ac:chgData name="Ogundairo, Sunmisola" userId="ca9d8627-40bc-4f68-b59e-d13554e1af79" providerId="ADAL" clId="{EBDB7F11-A6B6-4089-9396-A9E55F1D6E6F}" dt="2023-03-31T03:05:20.376" v="7273" actId="1036"/>
          <ac:spMkLst>
            <pc:docMk/>
            <pc:sldMk cId="3118912705" sldId="1800"/>
            <ac:spMk id="37" creationId="{1F66235D-2370-481D-8CA9-8BF923074F0B}"/>
          </ac:spMkLst>
        </pc:spChg>
        <pc:spChg chg="mod">
          <ac:chgData name="Ogundairo, Sunmisola" userId="ca9d8627-40bc-4f68-b59e-d13554e1af79" providerId="ADAL" clId="{EBDB7F11-A6B6-4089-9396-A9E55F1D6E6F}" dt="2023-03-31T03:05:20.376" v="7273" actId="1036"/>
          <ac:spMkLst>
            <pc:docMk/>
            <pc:sldMk cId="3118912705" sldId="1800"/>
            <ac:spMk id="38" creationId="{7A97B14E-1CC2-4ACB-98DA-593FFDFC02ED}"/>
          </ac:spMkLst>
        </pc:spChg>
        <pc:spChg chg="mod">
          <ac:chgData name="Ogundairo, Sunmisola" userId="ca9d8627-40bc-4f68-b59e-d13554e1af79" providerId="ADAL" clId="{EBDB7F11-A6B6-4089-9396-A9E55F1D6E6F}" dt="2023-03-31T03:05:20.376" v="7273" actId="1036"/>
          <ac:spMkLst>
            <pc:docMk/>
            <pc:sldMk cId="3118912705" sldId="1800"/>
            <ac:spMk id="39" creationId="{6BD5FD34-12BF-4F0C-8CE4-B5D39CF44390}"/>
          </ac:spMkLst>
        </pc:spChg>
        <pc:spChg chg="mod">
          <ac:chgData name="Ogundairo, Sunmisola" userId="ca9d8627-40bc-4f68-b59e-d13554e1af79" providerId="ADAL" clId="{EBDB7F11-A6B6-4089-9396-A9E55F1D6E6F}" dt="2023-03-31T03:05:20.376" v="7273" actId="1036"/>
          <ac:spMkLst>
            <pc:docMk/>
            <pc:sldMk cId="3118912705" sldId="1800"/>
            <ac:spMk id="40" creationId="{426A75B7-EBC1-4D0A-8E6B-B3AD121AFCFB}"/>
          </ac:spMkLst>
        </pc:spChg>
        <pc:spChg chg="mod">
          <ac:chgData name="Ogundairo, Sunmisola" userId="ca9d8627-40bc-4f68-b59e-d13554e1af79" providerId="ADAL" clId="{EBDB7F11-A6B6-4089-9396-A9E55F1D6E6F}" dt="2023-03-31T03:05:20.376" v="7273" actId="1036"/>
          <ac:spMkLst>
            <pc:docMk/>
            <pc:sldMk cId="3118912705" sldId="1800"/>
            <ac:spMk id="41" creationId="{4AAB9682-4C5C-4BBB-A554-6EE0D022EB02}"/>
          </ac:spMkLst>
        </pc:spChg>
        <pc:spChg chg="mod">
          <ac:chgData name="Ogundairo, Sunmisola" userId="ca9d8627-40bc-4f68-b59e-d13554e1af79" providerId="ADAL" clId="{EBDB7F11-A6B6-4089-9396-A9E55F1D6E6F}" dt="2023-03-31T03:05:20.376" v="7273" actId="1036"/>
          <ac:spMkLst>
            <pc:docMk/>
            <pc:sldMk cId="3118912705" sldId="1800"/>
            <ac:spMk id="42" creationId="{BA986083-1E37-4772-9FDD-D7AC482830E6}"/>
          </ac:spMkLst>
        </pc:spChg>
        <pc:spChg chg="mod">
          <ac:chgData name="Ogundairo, Sunmisola" userId="ca9d8627-40bc-4f68-b59e-d13554e1af79" providerId="ADAL" clId="{EBDB7F11-A6B6-4089-9396-A9E55F1D6E6F}" dt="2023-03-31T03:05:20.376" v="7273" actId="1036"/>
          <ac:spMkLst>
            <pc:docMk/>
            <pc:sldMk cId="3118912705" sldId="1800"/>
            <ac:spMk id="44" creationId="{DC13E024-06F5-4919-9DB6-4AD09DBA2E38}"/>
          </ac:spMkLst>
        </pc:spChg>
        <pc:spChg chg="mod">
          <ac:chgData name="Ogundairo, Sunmisola" userId="ca9d8627-40bc-4f68-b59e-d13554e1af79" providerId="ADAL" clId="{EBDB7F11-A6B6-4089-9396-A9E55F1D6E6F}" dt="2023-03-31T03:05:20.376" v="7273" actId="1036"/>
          <ac:spMkLst>
            <pc:docMk/>
            <pc:sldMk cId="3118912705" sldId="1800"/>
            <ac:spMk id="45" creationId="{31D9FA63-67A9-4702-B8D9-70C282E7D713}"/>
          </ac:spMkLst>
        </pc:spChg>
        <pc:spChg chg="mod">
          <ac:chgData name="Ogundairo, Sunmisola" userId="ca9d8627-40bc-4f68-b59e-d13554e1af79" providerId="ADAL" clId="{EBDB7F11-A6B6-4089-9396-A9E55F1D6E6F}" dt="2023-03-31T03:05:20.376" v="7273" actId="1036"/>
          <ac:spMkLst>
            <pc:docMk/>
            <pc:sldMk cId="3118912705" sldId="1800"/>
            <ac:spMk id="46" creationId="{65B53DAE-766F-4986-8C1A-6A9127C520FE}"/>
          </ac:spMkLst>
        </pc:spChg>
        <pc:spChg chg="mod">
          <ac:chgData name="Ogundairo, Sunmisola" userId="ca9d8627-40bc-4f68-b59e-d13554e1af79" providerId="ADAL" clId="{EBDB7F11-A6B6-4089-9396-A9E55F1D6E6F}" dt="2023-04-05T15:25:22.779" v="7886" actId="20577"/>
          <ac:spMkLst>
            <pc:docMk/>
            <pc:sldMk cId="3118912705" sldId="1800"/>
            <ac:spMk id="47" creationId="{E00D17FD-6450-4132-A7D8-E6B632330318}"/>
          </ac:spMkLst>
        </pc:spChg>
        <pc:spChg chg="add mod">
          <ac:chgData name="Ogundairo, Sunmisola" userId="ca9d8627-40bc-4f68-b59e-d13554e1af79" providerId="ADAL" clId="{EBDB7F11-A6B6-4089-9396-A9E55F1D6E6F}" dt="2023-03-31T03:05:40.214" v="7286" actId="1036"/>
          <ac:spMkLst>
            <pc:docMk/>
            <pc:sldMk cId="3118912705" sldId="1800"/>
            <ac:spMk id="49" creationId="{21D10FD3-BF3A-4D3C-ADAA-6DAA5448CA9E}"/>
          </ac:spMkLst>
        </pc:spChg>
        <pc:grpChg chg="add mod">
          <ac:chgData name="Ogundairo, Sunmisola" userId="ca9d8627-40bc-4f68-b59e-d13554e1af79" providerId="ADAL" clId="{EBDB7F11-A6B6-4089-9396-A9E55F1D6E6F}" dt="2023-03-31T03:05:20.376" v="7273" actId="1036"/>
          <ac:grpSpMkLst>
            <pc:docMk/>
            <pc:sldMk cId="3118912705" sldId="1800"/>
            <ac:grpSpMk id="2" creationId="{62B3AA42-CBDB-45B5-A452-25553328755C}"/>
          </ac:grpSpMkLst>
        </pc:grpChg>
        <pc:grpChg chg="mod">
          <ac:chgData name="Ogundairo, Sunmisola" userId="ca9d8627-40bc-4f68-b59e-d13554e1af79" providerId="ADAL" clId="{EBDB7F11-A6B6-4089-9396-A9E55F1D6E6F}" dt="2023-03-31T03:05:20.376" v="7273" actId="1036"/>
          <ac:grpSpMkLst>
            <pc:docMk/>
            <pc:sldMk cId="3118912705" sldId="1800"/>
            <ac:grpSpMk id="13" creationId="{76D46CE1-CE66-4CBC-B04F-3C446CB35EBF}"/>
          </ac:grpSpMkLst>
        </pc:grpChg>
        <pc:grpChg chg="mod">
          <ac:chgData name="Ogundairo, Sunmisola" userId="ca9d8627-40bc-4f68-b59e-d13554e1af79" providerId="ADAL" clId="{EBDB7F11-A6B6-4089-9396-A9E55F1D6E6F}" dt="2023-03-31T03:05:20.376" v="7273" actId="1036"/>
          <ac:grpSpMkLst>
            <pc:docMk/>
            <pc:sldMk cId="3118912705" sldId="1800"/>
            <ac:grpSpMk id="27" creationId="{1B1A7754-6EAE-4364-AD7F-38E8BFE1C8DC}"/>
          </ac:grpSpMkLst>
        </pc:grpChg>
        <pc:picChg chg="add mod">
          <ac:chgData name="Ogundairo, Sunmisola" userId="ca9d8627-40bc-4f68-b59e-d13554e1af79" providerId="ADAL" clId="{EBDB7F11-A6B6-4089-9396-A9E55F1D6E6F}" dt="2023-03-30T08:55:44.745" v="5303"/>
          <ac:picMkLst>
            <pc:docMk/>
            <pc:sldMk cId="3118912705" sldId="1800"/>
            <ac:picMk id="48" creationId="{C0987E94-CA11-4CFC-9C2B-899E7C46FC10}"/>
          </ac:picMkLst>
        </pc:picChg>
      </pc:sldChg>
      <pc:sldChg chg="addSp delSp modSp new mod ord">
        <pc:chgData name="Ogundairo, Sunmisola" userId="ca9d8627-40bc-4f68-b59e-d13554e1af79" providerId="ADAL" clId="{EBDB7F11-A6B6-4089-9396-A9E55F1D6E6F}" dt="2023-03-31T14:01:28.956" v="7741" actId="12"/>
        <pc:sldMkLst>
          <pc:docMk/>
          <pc:sldMk cId="4271578900" sldId="1801"/>
        </pc:sldMkLst>
        <pc:spChg chg="del mod">
          <ac:chgData name="Ogundairo, Sunmisola" userId="ca9d8627-40bc-4f68-b59e-d13554e1af79" providerId="ADAL" clId="{EBDB7F11-A6B6-4089-9396-A9E55F1D6E6F}" dt="2023-03-31T03:01:38.752" v="7173" actId="478"/>
          <ac:spMkLst>
            <pc:docMk/>
            <pc:sldMk cId="4271578900" sldId="1801"/>
            <ac:spMk id="2" creationId="{E462F7C6-886D-47A2-B5FC-DF631D44B156}"/>
          </ac:spMkLst>
        </pc:spChg>
        <pc:spChg chg="mod">
          <ac:chgData name="Ogundairo, Sunmisola" userId="ca9d8627-40bc-4f68-b59e-d13554e1af79" providerId="ADAL" clId="{EBDB7F11-A6B6-4089-9396-A9E55F1D6E6F}" dt="2023-03-31T01:26:26.764" v="6012"/>
          <ac:spMkLst>
            <pc:docMk/>
            <pc:sldMk cId="4271578900" sldId="1801"/>
            <ac:spMk id="4" creationId="{F196B0D8-9BB7-4B87-B2A7-261363584594}"/>
          </ac:spMkLst>
        </pc:spChg>
        <pc:spChg chg="mod">
          <ac:chgData name="Ogundairo, Sunmisola" userId="ca9d8627-40bc-4f68-b59e-d13554e1af79" providerId="ADAL" clId="{EBDB7F11-A6B6-4089-9396-A9E55F1D6E6F}" dt="2023-03-31T01:26:26.764" v="6012"/>
          <ac:spMkLst>
            <pc:docMk/>
            <pc:sldMk cId="4271578900" sldId="1801"/>
            <ac:spMk id="5" creationId="{8620CEAF-00B7-4B4A-9323-094373C849AB}"/>
          </ac:spMkLst>
        </pc:spChg>
        <pc:spChg chg="mod">
          <ac:chgData name="Ogundairo, Sunmisola" userId="ca9d8627-40bc-4f68-b59e-d13554e1af79" providerId="ADAL" clId="{EBDB7F11-A6B6-4089-9396-A9E55F1D6E6F}" dt="2023-03-31T01:26:26.764" v="6012"/>
          <ac:spMkLst>
            <pc:docMk/>
            <pc:sldMk cId="4271578900" sldId="1801"/>
            <ac:spMk id="6" creationId="{9DE611C8-2DD6-4962-8975-3AEEF58F817C}"/>
          </ac:spMkLst>
        </pc:spChg>
        <pc:spChg chg="mod">
          <ac:chgData name="Ogundairo, Sunmisola" userId="ca9d8627-40bc-4f68-b59e-d13554e1af79" providerId="ADAL" clId="{EBDB7F11-A6B6-4089-9396-A9E55F1D6E6F}" dt="2023-03-31T01:26:26.764" v="6012"/>
          <ac:spMkLst>
            <pc:docMk/>
            <pc:sldMk cId="4271578900" sldId="1801"/>
            <ac:spMk id="7" creationId="{17ADC13D-379A-4CAC-87C0-3FBD6437150B}"/>
          </ac:spMkLst>
        </pc:spChg>
        <pc:spChg chg="add mod">
          <ac:chgData name="Ogundairo, Sunmisola" userId="ca9d8627-40bc-4f68-b59e-d13554e1af79" providerId="ADAL" clId="{EBDB7F11-A6B6-4089-9396-A9E55F1D6E6F}" dt="2023-03-31T03:02:19.034" v="7207" actId="20577"/>
          <ac:spMkLst>
            <pc:docMk/>
            <pc:sldMk cId="4271578900" sldId="1801"/>
            <ac:spMk id="9" creationId="{950A2C07-0354-4BA4-9415-2601874AC2EE}"/>
          </ac:spMkLst>
        </pc:spChg>
        <pc:spChg chg="add mod">
          <ac:chgData name="Ogundairo, Sunmisola" userId="ca9d8627-40bc-4f68-b59e-d13554e1af79" providerId="ADAL" clId="{EBDB7F11-A6B6-4089-9396-A9E55F1D6E6F}" dt="2023-03-31T14:01:28.956" v="7741" actId="12"/>
          <ac:spMkLst>
            <pc:docMk/>
            <pc:sldMk cId="4271578900" sldId="1801"/>
            <ac:spMk id="12" creationId="{A150EFCD-C6D5-4C89-904E-861C2C3BBAF2}"/>
          </ac:spMkLst>
        </pc:spChg>
        <pc:spChg chg="add mod">
          <ac:chgData name="Ogundairo, Sunmisola" userId="ca9d8627-40bc-4f68-b59e-d13554e1af79" providerId="ADAL" clId="{EBDB7F11-A6B6-4089-9396-A9E55F1D6E6F}" dt="2023-03-31T13:59:21.576" v="7470" actId="20577"/>
          <ac:spMkLst>
            <pc:docMk/>
            <pc:sldMk cId="4271578900" sldId="1801"/>
            <ac:spMk id="13" creationId="{E4343DC1-3D9B-4C34-A4FB-DA8B64B478D0}"/>
          </ac:spMkLst>
        </pc:spChg>
        <pc:grpChg chg="add del mod">
          <ac:chgData name="Ogundairo, Sunmisola" userId="ca9d8627-40bc-4f68-b59e-d13554e1af79" providerId="ADAL" clId="{EBDB7F11-A6B6-4089-9396-A9E55F1D6E6F}" dt="2023-03-31T03:01:35.528" v="7172" actId="478"/>
          <ac:grpSpMkLst>
            <pc:docMk/>
            <pc:sldMk cId="4271578900" sldId="1801"/>
            <ac:grpSpMk id="3" creationId="{6D9B5886-930C-401A-850E-454A2F807F71}"/>
          </ac:grpSpMkLst>
        </pc:grpChg>
        <pc:picChg chg="add mod">
          <ac:chgData name="Ogundairo, Sunmisola" userId="ca9d8627-40bc-4f68-b59e-d13554e1af79" providerId="ADAL" clId="{EBDB7F11-A6B6-4089-9396-A9E55F1D6E6F}" dt="2023-03-31T03:13:08.558" v="7370" actId="14100"/>
          <ac:picMkLst>
            <pc:docMk/>
            <pc:sldMk cId="4271578900" sldId="1801"/>
            <ac:picMk id="11" creationId="{53EAE764-838A-426B-85A5-A93797BFCA2E}"/>
          </ac:picMkLst>
        </pc:picChg>
      </pc:sldChg>
      <pc:sldChg chg="add">
        <pc:chgData name="Ogundairo, Sunmisola" userId="ca9d8627-40bc-4f68-b59e-d13554e1af79" providerId="ADAL" clId="{EBDB7F11-A6B6-4089-9396-A9E55F1D6E6F}" dt="2023-03-31T03:01:29.318" v="7169" actId="2890"/>
        <pc:sldMkLst>
          <pc:docMk/>
          <pc:sldMk cId="671525735" sldId="1802"/>
        </pc:sldMkLst>
      </pc:sldChg>
      <pc:sldChg chg="add del">
        <pc:chgData name="Ogundairo, Sunmisola" userId="ca9d8627-40bc-4f68-b59e-d13554e1af79" providerId="ADAL" clId="{EBDB7F11-A6B6-4089-9396-A9E55F1D6E6F}" dt="2023-04-05T00:13:16.296" v="7877" actId="2696"/>
        <pc:sldMkLst>
          <pc:docMk/>
          <pc:sldMk cId="138592479" sldId="1803"/>
        </pc:sldMkLst>
      </pc:sldChg>
      <pc:sldChg chg="delSp modSp add mod">
        <pc:chgData name="Ogundairo, Sunmisola" userId="ca9d8627-40bc-4f68-b59e-d13554e1af79" providerId="ADAL" clId="{EBDB7F11-A6B6-4089-9396-A9E55F1D6E6F}" dt="2023-04-04T23:56:26.920" v="7825" actId="1076"/>
        <pc:sldMkLst>
          <pc:docMk/>
          <pc:sldMk cId="1690677197" sldId="1804"/>
        </pc:sldMkLst>
        <pc:grpChg chg="mod">
          <ac:chgData name="Ogundairo, Sunmisola" userId="ca9d8627-40bc-4f68-b59e-d13554e1af79" providerId="ADAL" clId="{EBDB7F11-A6B6-4089-9396-A9E55F1D6E6F}" dt="2023-04-04T23:56:16.160" v="7824" actId="1076"/>
          <ac:grpSpMkLst>
            <pc:docMk/>
            <pc:sldMk cId="1690677197" sldId="1804"/>
            <ac:grpSpMk id="36" creationId="{DEAAD32F-DF98-44E9-B5CB-3F1F41E73002}"/>
          </ac:grpSpMkLst>
        </pc:grpChg>
        <pc:graphicFrameChg chg="del">
          <ac:chgData name="Ogundairo, Sunmisola" userId="ca9d8627-40bc-4f68-b59e-d13554e1af79" providerId="ADAL" clId="{EBDB7F11-A6B6-4089-9396-A9E55F1D6E6F}" dt="2023-04-04T23:55:34.537" v="7816" actId="478"/>
          <ac:graphicFrameMkLst>
            <pc:docMk/>
            <pc:sldMk cId="1690677197" sldId="1804"/>
            <ac:graphicFrameMk id="25" creationId="{DC664B3E-D516-44B7-85D7-4D7684AB71AF}"/>
          </ac:graphicFrameMkLst>
        </pc:graphicFrameChg>
        <pc:graphicFrameChg chg="mod modGraphic">
          <ac:chgData name="Ogundairo, Sunmisola" userId="ca9d8627-40bc-4f68-b59e-d13554e1af79" providerId="ADAL" clId="{EBDB7F11-A6B6-4089-9396-A9E55F1D6E6F}" dt="2023-04-04T23:56:26.920" v="7825" actId="1076"/>
          <ac:graphicFrameMkLst>
            <pc:docMk/>
            <pc:sldMk cId="1690677197" sldId="1804"/>
            <ac:graphicFrameMk id="27" creationId="{5CE9E9F4-8136-4708-B5E2-A059B5833CBF}"/>
          </ac:graphicFrameMkLst>
        </pc:graphicFrameChg>
      </pc:sldChg>
      <pc:sldMasterChg chg="delSldLayout">
        <pc:chgData name="Ogundairo, Sunmisola" userId="ca9d8627-40bc-4f68-b59e-d13554e1af79" providerId="ADAL" clId="{EBDB7F11-A6B6-4089-9396-A9E55F1D6E6F}" dt="2023-03-31T01:36:03.041" v="6031" actId="2696"/>
        <pc:sldMasterMkLst>
          <pc:docMk/>
          <pc:sldMasterMk cId="2969424857" sldId="2147483661"/>
        </pc:sldMasterMkLst>
        <pc:sldLayoutChg chg="del">
          <pc:chgData name="Ogundairo, Sunmisola" userId="ca9d8627-40bc-4f68-b59e-d13554e1af79" providerId="ADAL" clId="{EBDB7F11-A6B6-4089-9396-A9E55F1D6E6F}" dt="2023-03-31T01:36:03.041" v="6031" actId="2696"/>
          <pc:sldLayoutMkLst>
            <pc:docMk/>
            <pc:sldMasterMk cId="2969424857" sldId="2147483661"/>
            <pc:sldLayoutMk cId="369209245" sldId="214748368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98198E-BBFD-4BDE-AA1B-9F1BB3D20390}" type="datetimeFigureOut">
              <a:rPr lang="en-US" smtClean="0"/>
              <a:t>4/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362D9C-A6C0-4C55-83DB-88BBF0FEEE5C}" type="slidenum">
              <a:rPr lang="en-US" smtClean="0"/>
              <a:t>‹#›</a:t>
            </a:fld>
            <a:endParaRPr lang="en-US"/>
          </a:p>
        </p:txBody>
      </p:sp>
    </p:spTree>
    <p:extLst>
      <p:ext uri="{BB962C8B-B14F-4D97-AF65-F5344CB8AC3E}">
        <p14:creationId xmlns:p14="http://schemas.microsoft.com/office/powerpoint/2010/main" val="15970942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a:t>
            </a:fld>
            <a:endParaRPr lang="en-US" dirty="0"/>
          </a:p>
        </p:txBody>
      </p:sp>
    </p:spTree>
    <p:extLst>
      <p:ext uri="{BB962C8B-B14F-4D97-AF65-F5344CB8AC3E}">
        <p14:creationId xmlns:p14="http://schemas.microsoft.com/office/powerpoint/2010/main" val="4105353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Important features</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a:t>
            </a:fld>
            <a:endParaRPr lang="en-US" dirty="0"/>
          </a:p>
        </p:txBody>
      </p:sp>
    </p:spTree>
    <p:extLst>
      <p:ext uri="{BB962C8B-B14F-4D97-AF65-F5344CB8AC3E}">
        <p14:creationId xmlns:p14="http://schemas.microsoft.com/office/powerpoint/2010/main" val="2728932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a:t>
            </a:fld>
            <a:endParaRPr lang="en-US" dirty="0"/>
          </a:p>
        </p:txBody>
      </p:sp>
    </p:spTree>
    <p:extLst>
      <p:ext uri="{BB962C8B-B14F-4D97-AF65-F5344CB8AC3E}">
        <p14:creationId xmlns:p14="http://schemas.microsoft.com/office/powerpoint/2010/main" val="2290993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3</a:t>
            </a:fld>
            <a:endParaRPr lang="en-US" dirty="0"/>
          </a:p>
        </p:txBody>
      </p:sp>
    </p:spTree>
    <p:extLst>
      <p:ext uri="{BB962C8B-B14F-4D97-AF65-F5344CB8AC3E}">
        <p14:creationId xmlns:p14="http://schemas.microsoft.com/office/powerpoint/2010/main" val="3678817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4</a:t>
            </a:fld>
            <a:endParaRPr lang="en-US" dirty="0"/>
          </a:p>
        </p:txBody>
      </p:sp>
    </p:spTree>
    <p:extLst>
      <p:ext uri="{BB962C8B-B14F-4D97-AF65-F5344CB8AC3E}">
        <p14:creationId xmlns:p14="http://schemas.microsoft.com/office/powerpoint/2010/main" val="9260578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C32A0-6D7B-4BA2-BFFE-E6513C28E9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D189C3A-7EDB-46B6-B66E-D2043D206D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567525-A500-411A-BEDC-C34E39A4222E}"/>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5B61BF34-9008-49D6-94D1-D392098C49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F96774-9B52-4836-85F8-0B08AB21A967}"/>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386075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FD0F-B829-4A90-9ACA-B5AB9B96B01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941D4D-3BF9-4693-A821-90E4E00A546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C11762-99D3-4A4A-8C73-8C6A8830EFB6}"/>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5C982824-6453-4F0A-BCE9-59519FB12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5E02B9-220F-4707-A9A8-6FB86907A9BF}"/>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789391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3E4574-8137-475B-92B7-49F3302AE50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FB1270-4F89-4697-98FC-86170DA8E30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2EB78C-6AFE-4E15-9A21-67989A839810}"/>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A7611045-9DC8-4C7F-AFFB-BA86A5212A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F7FD4D-540C-4116-81E2-D7266913AC27}"/>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3135693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8" name="Picture Placeholder 8">
            <a:extLst>
              <a:ext uri="{FF2B5EF4-FFF2-40B4-BE49-F238E27FC236}">
                <a16:creationId xmlns:a16="http://schemas.microsoft.com/office/drawing/2014/main" id="{0C306D81-7367-44CC-A37B-727E754CBE7A}"/>
              </a:ext>
            </a:extLst>
          </p:cNvPr>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39" name="Text Placeholder 4">
            <a:extLst>
              <a:ext uri="{FF2B5EF4-FFF2-40B4-BE49-F238E27FC236}">
                <a16:creationId xmlns:a16="http://schemas.microsoft.com/office/drawing/2014/main" id="{0A4DCBC5-2A16-405E-9022-F4702155B272}"/>
              </a:ext>
            </a:extLst>
          </p:cNvPr>
          <p:cNvSpPr>
            <a:spLocks noGrp="1"/>
          </p:cNvSpPr>
          <p:nvPr>
            <p:ph type="body" sz="quarter" idx="10"/>
          </p:nvPr>
        </p:nvSpPr>
        <p:spPr>
          <a:xfrm>
            <a:off x="501651" y="6381750"/>
            <a:ext cx="4446270"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40" name="Title 1">
            <a:extLst>
              <a:ext uri="{FF2B5EF4-FFF2-40B4-BE49-F238E27FC236}">
                <a16:creationId xmlns:a16="http://schemas.microsoft.com/office/drawing/2014/main" id="{AFA667C9-E853-487C-B2C4-317FB083F297}"/>
              </a:ext>
            </a:extLst>
          </p:cNvPr>
          <p:cNvSpPr>
            <a:spLocks noGrp="1"/>
          </p:cNvSpPr>
          <p:nvPr>
            <p:ph type="ctrTitle"/>
          </p:nvPr>
        </p:nvSpPr>
        <p:spPr bwMode="gray">
          <a:xfrm>
            <a:off x="501651" y="5186210"/>
            <a:ext cx="4446270"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44" name="Group 43">
            <a:extLst>
              <a:ext uri="{FF2B5EF4-FFF2-40B4-BE49-F238E27FC236}">
                <a16:creationId xmlns:a16="http://schemas.microsoft.com/office/drawing/2014/main" id="{EF185341-9C60-4AD4-9579-2287699EE8DE}"/>
              </a:ext>
            </a:extLst>
          </p:cNvPr>
          <p:cNvGrpSpPr/>
          <p:nvPr userDrawn="1"/>
        </p:nvGrpSpPr>
        <p:grpSpPr>
          <a:xfrm>
            <a:off x="465220" y="378000"/>
            <a:ext cx="1993846" cy="307976"/>
            <a:chOff x="398463" y="404813"/>
            <a:chExt cx="1627187" cy="307976"/>
          </a:xfrm>
          <a:solidFill>
            <a:schemeClr val="bg1"/>
          </a:solidFill>
        </p:grpSpPr>
        <p:sp>
          <p:nvSpPr>
            <p:cNvPr id="45" name="Oval 5">
              <a:extLst>
                <a:ext uri="{FF2B5EF4-FFF2-40B4-BE49-F238E27FC236}">
                  <a16:creationId xmlns:a16="http://schemas.microsoft.com/office/drawing/2014/main" id="{DB0C536E-46EA-44F7-B243-2E791E6550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Freeform 6">
              <a:extLst>
                <a:ext uri="{FF2B5EF4-FFF2-40B4-BE49-F238E27FC236}">
                  <a16:creationId xmlns:a16="http://schemas.microsoft.com/office/drawing/2014/main" id="{29784281-A7B9-4D6A-99CC-7F666AED822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7">
              <a:extLst>
                <a:ext uri="{FF2B5EF4-FFF2-40B4-BE49-F238E27FC236}">
                  <a16:creationId xmlns:a16="http://schemas.microsoft.com/office/drawing/2014/main" id="{2DBA43C2-F624-4598-83BC-A70F81B5560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8">
              <a:extLst>
                <a:ext uri="{FF2B5EF4-FFF2-40B4-BE49-F238E27FC236}">
                  <a16:creationId xmlns:a16="http://schemas.microsoft.com/office/drawing/2014/main" id="{E7D0EA23-5693-44F1-ABDE-DC6B70298B9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Rectangle 9">
              <a:extLst>
                <a:ext uri="{FF2B5EF4-FFF2-40B4-BE49-F238E27FC236}">
                  <a16:creationId xmlns:a16="http://schemas.microsoft.com/office/drawing/2014/main" id="{87C13491-8024-4254-81D7-500A7241805F}"/>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Rectangle 10">
              <a:extLst>
                <a:ext uri="{FF2B5EF4-FFF2-40B4-BE49-F238E27FC236}">
                  <a16:creationId xmlns:a16="http://schemas.microsoft.com/office/drawing/2014/main" id="{C0C0C282-8535-4F6F-AB3C-7134A1EA82F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1">
              <a:extLst>
                <a:ext uri="{FF2B5EF4-FFF2-40B4-BE49-F238E27FC236}">
                  <a16:creationId xmlns:a16="http://schemas.microsoft.com/office/drawing/2014/main" id="{FC200BA6-71D3-4ACC-A2A5-797754D0DAF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12">
              <a:extLst>
                <a:ext uri="{FF2B5EF4-FFF2-40B4-BE49-F238E27FC236}">
                  <a16:creationId xmlns:a16="http://schemas.microsoft.com/office/drawing/2014/main" id="{C25519AD-D890-4110-B681-5A01C831108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Freeform 13">
              <a:extLst>
                <a:ext uri="{FF2B5EF4-FFF2-40B4-BE49-F238E27FC236}">
                  <a16:creationId xmlns:a16="http://schemas.microsoft.com/office/drawing/2014/main" id="{447EF8CE-8593-4600-A90D-DC4AE0EF0D6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4" name="Freeform 14">
              <a:extLst>
                <a:ext uri="{FF2B5EF4-FFF2-40B4-BE49-F238E27FC236}">
                  <a16:creationId xmlns:a16="http://schemas.microsoft.com/office/drawing/2014/main" id="{E6E56E78-32ED-41C5-85EE-44877C2E41A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45860576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a:stretch>
            <a:fillRect/>
          </a:stretch>
        </p:blipFill>
        <p:spPr>
          <a:xfrm>
            <a:off x="196678" y="334965"/>
            <a:ext cx="2247900" cy="558800"/>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0864837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14" name="CaseCode">
            <a:extLst>
              <a:ext uri="{FF2B5EF4-FFF2-40B4-BE49-F238E27FC236}">
                <a16:creationId xmlns:a16="http://schemas.microsoft.com/office/drawing/2014/main" id="{8C1362DE-5055-468F-8935-35080201E4E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Performance: </a:t>
            </a:r>
            <a:r>
              <a:rPr lang="en-US" sz="900" b="1" i="0" noProof="0">
                <a:solidFill>
                  <a:schemeClr val="bg1"/>
                </a:solidFill>
                <a:latin typeface="Calibri" panose="020F0502020204030204" pitchFamily="34" charset="0"/>
                <a:cs typeface="Calibri" panose="020F0502020204030204" pitchFamily="34" charset="0"/>
              </a:rPr>
              <a:t>AI Ops </a:t>
            </a:r>
            <a:r>
              <a:rPr lang="en-US" sz="900" noProof="0">
                <a:solidFill>
                  <a:schemeClr val="bg1"/>
                </a:solidFill>
                <a:latin typeface="Calibri" panose="020F0502020204030204" pitchFamily="34" charset="0"/>
                <a:cs typeface="Calibri" panose="020F0502020204030204" pitchFamily="34" charset="0"/>
              </a:rPr>
              <a:t>Market Offering</a:t>
            </a:r>
          </a:p>
        </p:txBody>
      </p:sp>
      <p:sp>
        <p:nvSpPr>
          <p:cNvPr id="15" name="Copyright">
            <a:extLst>
              <a:ext uri="{FF2B5EF4-FFF2-40B4-BE49-F238E27FC236}">
                <a16:creationId xmlns:a16="http://schemas.microsoft.com/office/drawing/2014/main" id="{1B3EA06A-6118-42AB-AFF7-7C1C40A6ABEA}"/>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16" name="TextBox 15">
            <a:extLst>
              <a:ext uri="{FF2B5EF4-FFF2-40B4-BE49-F238E27FC236}">
                <a16:creationId xmlns:a16="http://schemas.microsoft.com/office/drawing/2014/main" id="{DE46F25A-A4D5-459E-B774-CF35FD707CC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30652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DE46F25A-A4D5-459E-B774-CF35FD707CC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9C40B0E9-8CAC-4FCB-9031-01C06F946B45}"/>
              </a:ext>
            </a:extLst>
          </p:cNvPr>
          <p:cNvSpPr/>
          <p:nvPr userDrawn="1"/>
        </p:nvSpPr>
        <p:spPr bwMode="gray">
          <a:xfrm>
            <a:off x="0" y="2996"/>
            <a:ext cx="12205074" cy="6855004"/>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3" name="Picture 2" descr="A picture containing reptile, dark&#10;&#10;Description automatically generated">
            <a:extLst>
              <a:ext uri="{FF2B5EF4-FFF2-40B4-BE49-F238E27FC236}">
                <a16:creationId xmlns:a16="http://schemas.microsoft.com/office/drawing/2014/main" id="{7076284B-5530-4456-A01C-3E5A6543EB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03" t="2428" r="10391" b="2285"/>
          <a:stretch/>
        </p:blipFill>
        <p:spPr>
          <a:xfrm flipH="1">
            <a:off x="-1" y="0"/>
            <a:ext cx="1148127" cy="787399"/>
          </a:xfrm>
          <a:prstGeom prst="rect">
            <a:avLst/>
          </a:prstGeom>
        </p:spPr>
      </p:pic>
      <p:sp>
        <p:nvSpPr>
          <p:cNvPr id="17" name="Text Placeholder 8">
            <a:extLst>
              <a:ext uri="{FF2B5EF4-FFF2-40B4-BE49-F238E27FC236}">
                <a16:creationId xmlns:a16="http://schemas.microsoft.com/office/drawing/2014/main" id="{C71BA476-ADB0-4730-8C05-3FE0AFBFF3F8}"/>
              </a:ext>
            </a:extLst>
          </p:cNvPr>
          <p:cNvSpPr>
            <a:spLocks noGrp="1"/>
          </p:cNvSpPr>
          <p:nvPr>
            <p:ph type="body" sz="quarter" idx="13" hasCustomPrompt="1"/>
          </p:nvPr>
        </p:nvSpPr>
        <p:spPr>
          <a:xfrm>
            <a:off x="615188" y="5071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60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21" name="Title Placeholder 1">
            <a:extLst>
              <a:ext uri="{FF2B5EF4-FFF2-40B4-BE49-F238E27FC236}">
                <a16:creationId xmlns:a16="http://schemas.microsoft.com/office/drawing/2014/main" id="{8A582C89-F8CF-469F-99CC-A2862E6F32EA}"/>
              </a:ext>
            </a:extLst>
          </p:cNvPr>
          <p:cNvSpPr>
            <a:spLocks noGrp="1"/>
          </p:cNvSpPr>
          <p:nvPr>
            <p:ph type="title" hasCustomPrompt="1"/>
          </p:nvPr>
        </p:nvSpPr>
        <p:spPr>
          <a:xfrm>
            <a:off x="615188" y="1243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9A5D3E90-404D-49DF-BFCC-57AD7AB0D02F}"/>
              </a:ext>
            </a:extLst>
          </p:cNvPr>
          <p:cNvSpPr/>
          <p:nvPr userDrawn="1"/>
        </p:nvSpPr>
        <p:spPr>
          <a:xfrm>
            <a:off x="11760831" y="6527013"/>
            <a:ext cx="311304" cy="215444"/>
          </a:xfrm>
          <a:prstGeom prst="rect">
            <a:avLst/>
          </a:prstGeom>
        </p:spPr>
        <p:txBody>
          <a:bodyPr wrap="none">
            <a:spAutoFit/>
          </a:bodyPr>
          <a:lstStyle/>
          <a:p>
            <a:fld id="{C58DF478-B544-4ED8-9ED4-6A2648E2D233}" type="slidenum">
              <a:rPr lang="en-US" sz="800" noProof="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a:t>
            </a:fld>
            <a:endParaRPr lang="en-US">
              <a:solidFill>
                <a:schemeClr val="bg1"/>
              </a:solidFill>
            </a:endParaRPr>
          </a:p>
        </p:txBody>
      </p:sp>
      <p:sp>
        <p:nvSpPr>
          <p:cNvPr id="22" name="CaseCode">
            <a:extLst>
              <a:ext uri="{FF2B5EF4-FFF2-40B4-BE49-F238E27FC236}">
                <a16:creationId xmlns:a16="http://schemas.microsoft.com/office/drawing/2014/main" id="{81F83A73-61F1-4187-BAA8-335F3A8510D2}"/>
              </a:ext>
            </a:extLst>
          </p:cNvPr>
          <p:cNvSpPr txBox="1"/>
          <p:nvPr userDrawn="1"/>
        </p:nvSpPr>
        <p:spPr>
          <a:xfrm>
            <a:off x="6779684" y="6565486"/>
            <a:ext cx="4896560" cy="13849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prstClr val="white"/>
                </a:solidFill>
                <a:effectLst/>
                <a:uLnTx/>
                <a:uFillTx/>
                <a:latin typeface="Calibri"/>
                <a:ea typeface="+mn-ea"/>
                <a:cs typeface="Calibri"/>
              </a:rPr>
              <a:t> </a:t>
            </a:r>
            <a:r>
              <a:rPr kumimoji="0" lang="en-US" sz="900" b="1" i="0" u="none" strike="noStrike" kern="1200" cap="none" spc="0" normalizeH="0" baseline="0" noProof="0">
                <a:ln>
                  <a:noFill/>
                </a:ln>
                <a:solidFill>
                  <a:prstClr val="white"/>
                </a:solidFill>
                <a:effectLst/>
                <a:uLnTx/>
                <a:uFillTx/>
                <a:latin typeface="Calibri"/>
                <a:ea typeface="+mn-ea"/>
                <a:cs typeface="Calibri"/>
              </a:rPr>
              <a:t>AIOPS</a:t>
            </a:r>
            <a:r>
              <a:rPr kumimoji="0" lang="en-US" sz="900" b="1" i="0" u="none" strike="noStrike" kern="1200" cap="none" spc="0" normalizeH="0" baseline="0" noProof="0">
                <a:ln>
                  <a:noFill/>
                </a:ln>
                <a:solidFill>
                  <a:srgbClr val="86BC25"/>
                </a:solidFill>
                <a:effectLst/>
                <a:uLnTx/>
                <a:uFillTx/>
                <a:latin typeface="Calibri"/>
                <a:ea typeface="+mn-ea"/>
                <a:cs typeface="Calibri"/>
              </a:rPr>
              <a:t>.</a:t>
            </a:r>
            <a:r>
              <a:rPr kumimoji="0" lang="en-US" sz="900" b="1" i="0" u="none" strike="noStrike" kern="1200" cap="none" spc="0" normalizeH="0" baseline="0" noProof="0">
                <a:ln>
                  <a:noFill/>
                </a:ln>
                <a:solidFill>
                  <a:srgbClr val="92D050"/>
                </a:solidFill>
                <a:effectLst/>
                <a:uLnTx/>
                <a:uFillTx/>
                <a:latin typeface="Calibri"/>
                <a:ea typeface="+mn-ea"/>
                <a:cs typeface="Calibri"/>
              </a:rPr>
              <a:t>D</a:t>
            </a:r>
            <a:endParaRPr kumimoji="0" lang="en-US" sz="900" b="0" i="0" u="none" strike="noStrike" kern="1200" cap="none" spc="0" normalizeH="0" baseline="0" noProof="0">
              <a:ln>
                <a:noFill/>
              </a:ln>
              <a:solidFill>
                <a:srgbClr val="92D050"/>
              </a:solidFill>
              <a:effectLst/>
              <a:uLnTx/>
              <a:uFillTx/>
              <a:latin typeface="Calibri" panose="020F0502020204030204" pitchFamily="34" charset="0"/>
              <a:ea typeface="+mn-ea"/>
              <a:cs typeface="Calibri" panose="020F0502020204030204" pitchFamily="34" charset="0"/>
            </a:endParaRPr>
          </a:p>
        </p:txBody>
      </p:sp>
      <p:sp>
        <p:nvSpPr>
          <p:cNvPr id="23" name="Copyright">
            <a:extLst>
              <a:ext uri="{FF2B5EF4-FFF2-40B4-BE49-F238E27FC236}">
                <a16:creationId xmlns:a16="http://schemas.microsoft.com/office/drawing/2014/main" id="{F733F085-F892-4C3C-954C-DE818137CB32}"/>
              </a:ext>
            </a:extLst>
          </p:cNvPr>
          <p:cNvSpPr txBox="1"/>
          <p:nvPr userDrawn="1"/>
        </p:nvSpPr>
        <p:spPr>
          <a:xfrm>
            <a:off x="551688" y="6584722"/>
            <a:ext cx="5355167" cy="100027"/>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white"/>
                </a:solidFill>
                <a:effectLst/>
                <a:uLnTx/>
                <a:uFillTx/>
                <a:latin typeface="Open Sans"/>
                <a:ea typeface="+mn-ea"/>
                <a:cs typeface="Calibri" panose="020F0502020204030204" pitchFamily="34" charset="0"/>
              </a:rPr>
              <a:t>Copyright © 2021 Deloitte Development LLC. All rights reserved.</a:t>
            </a:r>
          </a:p>
        </p:txBody>
      </p:sp>
    </p:spTree>
    <p:extLst>
      <p:ext uri="{BB962C8B-B14F-4D97-AF65-F5344CB8AC3E}">
        <p14:creationId xmlns:p14="http://schemas.microsoft.com/office/powerpoint/2010/main" val="363491333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CaseCode">
            <a:extLst>
              <a:ext uri="{FF2B5EF4-FFF2-40B4-BE49-F238E27FC236}">
                <a16:creationId xmlns:a16="http://schemas.microsoft.com/office/drawing/2014/main" id="{8C1362DE-5055-468F-8935-35080201E4E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Performance: </a:t>
            </a:r>
            <a:r>
              <a:rPr lang="en-US" sz="900" b="1" i="0" noProof="0">
                <a:solidFill>
                  <a:schemeClr val="bg1"/>
                </a:solidFill>
                <a:latin typeface="Calibri" panose="020F0502020204030204" pitchFamily="34" charset="0"/>
                <a:cs typeface="Calibri" panose="020F0502020204030204" pitchFamily="34" charset="0"/>
              </a:rPr>
              <a:t>AI Ops </a:t>
            </a:r>
            <a:r>
              <a:rPr lang="en-US" sz="900" noProof="0">
                <a:solidFill>
                  <a:schemeClr val="bg1"/>
                </a:solidFill>
                <a:latin typeface="Calibri" panose="020F0502020204030204" pitchFamily="34" charset="0"/>
                <a:cs typeface="Calibri" panose="020F0502020204030204" pitchFamily="34" charset="0"/>
              </a:rPr>
              <a:t>Market Offering</a:t>
            </a:r>
          </a:p>
        </p:txBody>
      </p:sp>
      <p:sp>
        <p:nvSpPr>
          <p:cNvPr id="15" name="Copyright">
            <a:extLst>
              <a:ext uri="{FF2B5EF4-FFF2-40B4-BE49-F238E27FC236}">
                <a16:creationId xmlns:a16="http://schemas.microsoft.com/office/drawing/2014/main" id="{1B3EA06A-6118-42AB-AFF7-7C1C40A6ABEA}"/>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16" name="TextBox 15">
            <a:extLst>
              <a:ext uri="{FF2B5EF4-FFF2-40B4-BE49-F238E27FC236}">
                <a16:creationId xmlns:a16="http://schemas.microsoft.com/office/drawing/2014/main" id="{DE46F25A-A4D5-459E-B774-CF35FD707CC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pic>
        <p:nvPicPr>
          <p:cNvPr id="3" name="Picture 2" descr="A picture containing reptile, dark&#10;&#10;Description automatically generated">
            <a:extLst>
              <a:ext uri="{FF2B5EF4-FFF2-40B4-BE49-F238E27FC236}">
                <a16:creationId xmlns:a16="http://schemas.microsoft.com/office/drawing/2014/main" id="{7076284B-5530-4456-A01C-3E5A6543EB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28" b="2285"/>
          <a:stretch/>
        </p:blipFill>
        <p:spPr>
          <a:xfrm>
            <a:off x="-11703" y="2996"/>
            <a:ext cx="12203703" cy="6855004"/>
          </a:xfrm>
          <a:prstGeom prst="rect">
            <a:avLst/>
          </a:prstGeom>
        </p:spPr>
      </p:pic>
      <p:sp>
        <p:nvSpPr>
          <p:cNvPr id="4" name="Rectangle 3">
            <a:extLst>
              <a:ext uri="{FF2B5EF4-FFF2-40B4-BE49-F238E27FC236}">
                <a16:creationId xmlns:a16="http://schemas.microsoft.com/office/drawing/2014/main" id="{9C40B0E9-8CAC-4FCB-9031-01C06F946B45}"/>
              </a:ext>
            </a:extLst>
          </p:cNvPr>
          <p:cNvSpPr/>
          <p:nvPr userDrawn="1"/>
        </p:nvSpPr>
        <p:spPr bwMode="gray">
          <a:xfrm>
            <a:off x="-13074" y="2996"/>
            <a:ext cx="12205074" cy="6855004"/>
          </a:xfrm>
          <a:prstGeom prst="rect">
            <a:avLst/>
          </a:prstGeom>
          <a:solidFill>
            <a:schemeClr val="tx1">
              <a:alpha val="3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9" name="Title 1">
            <a:extLst>
              <a:ext uri="{FF2B5EF4-FFF2-40B4-BE49-F238E27FC236}">
                <a16:creationId xmlns:a16="http://schemas.microsoft.com/office/drawing/2014/main" id="{EBC2DF82-B046-41F8-B677-FB4CBC41486E}"/>
              </a:ext>
            </a:extLst>
          </p:cNvPr>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0" name="Text Placeholder 2">
            <a:extLst>
              <a:ext uri="{FF2B5EF4-FFF2-40B4-BE49-F238E27FC236}">
                <a16:creationId xmlns:a16="http://schemas.microsoft.com/office/drawing/2014/main" id="{68F426AF-7C52-40B4-8805-FE7279B90A8E}"/>
              </a:ext>
            </a:extLst>
          </p:cNvPr>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406193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2876801" y="61146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13728601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with blue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881F4BFD-D739-45E9-A5F7-B65C303EBE5B}"/>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888AA7F6-93E3-47B9-B824-23C23159D8BE}"/>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214975922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with green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E1F3FF1B-A2E0-4F96-A389-BB2B255F456E}"/>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F2F2390C-D6B8-49CE-B13F-EA5A791114FA}"/>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19055321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E62FC-AFA4-4792-B096-F54FAB5307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DE84F2-1516-4E92-AFF0-112A567EFD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859E48-EE99-4558-BCF7-3377B5A88FD0}"/>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D2A0C03F-19B7-4C7D-B9D6-BDED3FF056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BA6B8E-2F4A-4786-BDFF-726A81299857}"/>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28946178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2 content with quot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7B9F29-C1EA-4126-80E1-555E1176BD3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A63D057F-D80D-4DFF-94C2-DA9EE0BA8493}"/>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70192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6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5754956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6" name="Picture 15">
            <a:extLst>
              <a:ext uri="{FF2B5EF4-FFF2-40B4-BE49-F238E27FC236}">
                <a16:creationId xmlns:a16="http://schemas.microsoft.com/office/drawing/2014/main" id="{ABBADD65-1F37-4547-9DD0-648028E966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5654" y="1235921"/>
            <a:ext cx="4660691" cy="4386157"/>
          </a:xfrm>
          <a:prstGeom prst="rect">
            <a:avLst/>
          </a:prstGeom>
        </p:spPr>
      </p:pic>
    </p:spTree>
    <p:extLst>
      <p:ext uri="{BB962C8B-B14F-4D97-AF65-F5344CB8AC3E}">
        <p14:creationId xmlns:p14="http://schemas.microsoft.com/office/powerpoint/2010/main" val="274994739"/>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51106E2-5845-4917-9A29-E5480DE61E0D}" type="datetimeFigureOut">
              <a:rPr lang="en-US" smtClean="0"/>
              <a:t>4/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F477E5-182B-4BC1-9274-ACD7A12CC64D}" type="slidenum">
              <a:rPr lang="en-US" smtClean="0"/>
              <a:t>‹#›</a:t>
            </a:fld>
            <a:endParaRPr lang="en-US"/>
          </a:p>
        </p:txBody>
      </p:sp>
    </p:spTree>
    <p:extLst>
      <p:ext uri="{BB962C8B-B14F-4D97-AF65-F5344CB8AC3E}">
        <p14:creationId xmlns:p14="http://schemas.microsoft.com/office/powerpoint/2010/main" val="38481722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51106E2-5845-4917-9A29-E5480DE61E0D}" type="datetimeFigureOut">
              <a:rPr lang="en-US" smtClean="0"/>
              <a:t>4/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5F477E5-182B-4BC1-9274-ACD7A12CC64D}" type="slidenum">
              <a:rPr lang="en-US" smtClean="0"/>
              <a:t>‹#›</a:t>
            </a:fld>
            <a:endParaRPr lang="en-US"/>
          </a:p>
        </p:txBody>
      </p:sp>
    </p:spTree>
    <p:extLst>
      <p:ext uri="{BB962C8B-B14F-4D97-AF65-F5344CB8AC3E}">
        <p14:creationId xmlns:p14="http://schemas.microsoft.com/office/powerpoint/2010/main" val="37909010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6398D-6A22-4592-9A92-ABBB5EA866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09E50D0-DCF2-49E0-AF02-73B0981A66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9A428E-ED92-4018-BCC3-583CC23B8629}"/>
              </a:ext>
            </a:extLst>
          </p:cNvPr>
          <p:cNvSpPr>
            <a:spLocks noGrp="1"/>
          </p:cNvSpPr>
          <p:nvPr>
            <p:ph type="dt" sz="half" idx="10"/>
          </p:nvPr>
        </p:nvSpPr>
        <p:spPr/>
        <p:txBody>
          <a:bodyPr/>
          <a:lstStyle/>
          <a:p>
            <a:fld id="{85344C29-4DD6-4E69-A6BA-5DC9A21538F9}" type="datetimeFigureOut">
              <a:rPr lang="en-US" smtClean="0"/>
              <a:t>4/5/2023</a:t>
            </a:fld>
            <a:endParaRPr lang="en-US"/>
          </a:p>
        </p:txBody>
      </p:sp>
      <p:sp>
        <p:nvSpPr>
          <p:cNvPr id="5" name="Footer Placeholder 4">
            <a:extLst>
              <a:ext uri="{FF2B5EF4-FFF2-40B4-BE49-F238E27FC236}">
                <a16:creationId xmlns:a16="http://schemas.microsoft.com/office/drawing/2014/main" id="{65C24462-7D4B-413C-8B32-F07D9502F4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7C8D87-BDE1-4BAC-AFBB-C7DBC7DD47F2}"/>
              </a:ext>
            </a:extLst>
          </p:cNvPr>
          <p:cNvSpPr>
            <a:spLocks noGrp="1"/>
          </p:cNvSpPr>
          <p:nvPr>
            <p:ph type="sldNum" sz="quarter" idx="12"/>
          </p:nvPr>
        </p:nvSpPr>
        <p:spPr/>
        <p:txBody>
          <a:bodyPr/>
          <a:lstStyle/>
          <a:p>
            <a:fld id="{7DC4E2BD-D6EC-495D-93F7-475565DF3BC6}" type="slidenum">
              <a:rPr lang="en-US" smtClean="0"/>
              <a:t>‹#›</a:t>
            </a:fld>
            <a:endParaRPr lang="en-US"/>
          </a:p>
        </p:txBody>
      </p:sp>
    </p:spTree>
    <p:extLst>
      <p:ext uri="{BB962C8B-B14F-4D97-AF65-F5344CB8AC3E}">
        <p14:creationId xmlns:p14="http://schemas.microsoft.com/office/powerpoint/2010/main" val="23538395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151EAD8-9390-4C61-B61A-5B5FFF10354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a:t>
            </a:fld>
            <a:endParaRPr kumimoji="0" lang="en-US" sz="9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 name="CaseCode">
            <a:extLst>
              <a:ext uri="{FF2B5EF4-FFF2-40B4-BE49-F238E27FC236}">
                <a16:creationId xmlns:a16="http://schemas.microsoft.com/office/drawing/2014/main" id="{E4A59DD0-F7A8-4D27-B4E9-495A596E8349}"/>
              </a:ext>
            </a:extLst>
          </p:cNvPr>
          <p:cNvSpPr txBox="1"/>
          <p:nvPr userDrawn="1"/>
        </p:nvSpPr>
        <p:spPr>
          <a:xfrm>
            <a:off x="6335184" y="6477000"/>
            <a:ext cx="4896560" cy="13849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prstClr val="white"/>
                </a:solidFill>
                <a:effectLst/>
                <a:uLnTx/>
                <a:uFillTx/>
                <a:latin typeface="Calibri"/>
                <a:ea typeface="+mn-ea"/>
                <a:cs typeface="Calibri"/>
              </a:rPr>
              <a:t> Performance |  </a:t>
            </a:r>
            <a:r>
              <a:rPr kumimoji="0" lang="en-US" sz="900" b="1" i="0" u="none" strike="noStrike" kern="1200" cap="none" spc="0" normalizeH="0" baseline="0" noProof="0">
                <a:ln>
                  <a:noFill/>
                </a:ln>
                <a:solidFill>
                  <a:prstClr val="white"/>
                </a:solidFill>
                <a:effectLst/>
                <a:uLnTx/>
                <a:uFillTx/>
                <a:latin typeface="Calibri"/>
                <a:ea typeface="+mn-ea"/>
                <a:cs typeface="Calibri"/>
              </a:rPr>
              <a:t>AIOPS</a:t>
            </a:r>
            <a:r>
              <a:rPr kumimoji="0" lang="en-US" sz="900" b="1" i="0" u="none" strike="noStrike" kern="1200" cap="none" spc="0" normalizeH="0" baseline="0" noProof="0">
                <a:ln>
                  <a:noFill/>
                </a:ln>
                <a:solidFill>
                  <a:srgbClr val="86BC25"/>
                </a:solidFill>
                <a:effectLst/>
                <a:uLnTx/>
                <a:uFillTx/>
                <a:latin typeface="Calibri"/>
                <a:ea typeface="+mn-ea"/>
                <a:cs typeface="Calibri"/>
              </a:rPr>
              <a:t>.</a:t>
            </a:r>
            <a:r>
              <a:rPr kumimoji="0" lang="en-US" sz="900" b="1" i="0" u="none" strike="noStrike" kern="1200" cap="none" spc="0" normalizeH="0" baseline="0" noProof="0">
                <a:ln>
                  <a:noFill/>
                </a:ln>
                <a:solidFill>
                  <a:srgbClr val="92D050"/>
                </a:solidFill>
                <a:effectLst/>
                <a:uLnTx/>
                <a:uFillTx/>
                <a:latin typeface="Calibri"/>
                <a:ea typeface="+mn-ea"/>
                <a:cs typeface="Calibri"/>
              </a:rPr>
              <a:t>D</a:t>
            </a:r>
            <a:endParaRPr kumimoji="0" lang="en-US" sz="900" b="0" i="0" u="none" strike="noStrike" kern="1200" cap="none" spc="0" normalizeH="0" baseline="0" noProof="0">
              <a:ln>
                <a:noFill/>
              </a:ln>
              <a:solidFill>
                <a:srgbClr val="92D050"/>
              </a:solidFill>
              <a:effectLst/>
              <a:uLnTx/>
              <a:uFillTx/>
              <a:latin typeface="Calibri" panose="020F0502020204030204" pitchFamily="34" charset="0"/>
              <a:ea typeface="+mn-ea"/>
              <a:cs typeface="Calibri" panose="020F0502020204030204" pitchFamily="34" charset="0"/>
            </a:endParaRPr>
          </a:p>
        </p:txBody>
      </p:sp>
      <p:sp>
        <p:nvSpPr>
          <p:cNvPr id="7" name="Copyright">
            <a:extLst>
              <a:ext uri="{FF2B5EF4-FFF2-40B4-BE49-F238E27FC236}">
                <a16:creationId xmlns:a16="http://schemas.microsoft.com/office/drawing/2014/main" id="{92C615A3-9D06-44F7-BCBF-2D5CA65D4B57}"/>
              </a:ext>
            </a:extLst>
          </p:cNvPr>
          <p:cNvSpPr txBox="1"/>
          <p:nvPr userDrawn="1"/>
        </p:nvSpPr>
        <p:spPr>
          <a:xfrm>
            <a:off x="551688" y="6477000"/>
            <a:ext cx="5355167" cy="100027"/>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white"/>
                </a:solidFill>
                <a:effectLst/>
                <a:uLnTx/>
                <a:uFillTx/>
                <a:latin typeface="Open Sans"/>
                <a:ea typeface="+mn-ea"/>
                <a:cs typeface="Calibri" panose="020F0502020204030204" pitchFamily="34" charset="0"/>
              </a:rPr>
              <a:t>Copyright © 2021 Deloitte Development LLC. All rights reserved.</a:t>
            </a:r>
          </a:p>
        </p:txBody>
      </p:sp>
    </p:spTree>
    <p:extLst>
      <p:ext uri="{BB962C8B-B14F-4D97-AF65-F5344CB8AC3E}">
        <p14:creationId xmlns:p14="http://schemas.microsoft.com/office/powerpoint/2010/main" val="25872544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Box 6">
            <a:extLst>
              <a:ext uri="{FF2B5EF4-FFF2-40B4-BE49-F238E27FC236}">
                <a16:creationId xmlns:a16="http://schemas.microsoft.com/office/drawing/2014/main" id="{E06C2130-D796-4F3A-9AA3-C3A6173AF800}"/>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692659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Content">
    <p:bg>
      <p:bgPr>
        <a:solidFill>
          <a:schemeClr val="bg1"/>
        </a:solidFill>
        <a:effectLst/>
      </p:bgPr>
    </p:bg>
    <p:spTree>
      <p:nvGrpSpPr>
        <p:cNvPr id="1" name=""/>
        <p:cNvGrpSpPr/>
        <p:nvPr/>
      </p:nvGrpSpPr>
      <p:grpSpPr>
        <a:xfrm>
          <a:off x="0" y="0"/>
          <a:ext cx="0" cy="0"/>
          <a:chOff x="0" y="0"/>
          <a:chExt cx="0" cy="0"/>
        </a:xfrm>
      </p:grpSpPr>
      <p:sp>
        <p:nvSpPr>
          <p:cNvPr id="19" name="CaseCode">
            <a:extLst>
              <a:ext uri="{FF2B5EF4-FFF2-40B4-BE49-F238E27FC236}">
                <a16:creationId xmlns:a16="http://schemas.microsoft.com/office/drawing/2014/main" id="{06C0554D-992F-4ED2-A870-E53B85FAEE51}"/>
              </a:ext>
            </a:extLst>
          </p:cNvPr>
          <p:cNvSpPr txBox="1"/>
          <p:nvPr userDrawn="1"/>
        </p:nvSpPr>
        <p:spPr>
          <a:xfrm>
            <a:off x="6335184" y="6597068"/>
            <a:ext cx="4896560" cy="13849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sysClr val="windowText" lastClr="000000"/>
                </a:solidFill>
                <a:effectLst/>
                <a:uLnTx/>
                <a:uFillTx/>
                <a:latin typeface="Calibri"/>
                <a:ea typeface="+mn-ea"/>
                <a:cs typeface="Calibri"/>
              </a:rPr>
              <a:t>Human Capital |</a:t>
            </a:r>
            <a:r>
              <a:rPr kumimoji="0" lang="en-US" sz="900" b="0" i="0" u="none" strike="noStrike" kern="1200" cap="none" spc="0" normalizeH="0" baseline="0" noProof="0">
                <a:ln>
                  <a:noFill/>
                </a:ln>
                <a:solidFill>
                  <a:schemeClr val="tx1"/>
                </a:solidFill>
                <a:effectLst/>
                <a:uLnTx/>
                <a:uFillTx/>
                <a:latin typeface="Calibri"/>
                <a:ea typeface="+mn-ea"/>
                <a:cs typeface="Calibri"/>
              </a:rPr>
              <a:t>  </a:t>
            </a:r>
            <a:r>
              <a:rPr kumimoji="0" lang="en-US" sz="900" b="1" i="0" u="none" strike="noStrike" kern="1200" cap="none" spc="0" normalizeH="0" baseline="0" noProof="0">
                <a:ln>
                  <a:noFill/>
                </a:ln>
                <a:solidFill>
                  <a:schemeClr val="tx1"/>
                </a:solidFill>
                <a:effectLst/>
                <a:uLnTx/>
                <a:uFillTx/>
                <a:latin typeface="Calibri"/>
                <a:ea typeface="+mn-ea"/>
                <a:cs typeface="Calibri"/>
              </a:rPr>
              <a:t> AIOPS</a:t>
            </a:r>
            <a:r>
              <a:rPr kumimoji="0" lang="en-US" sz="900" b="1" i="0" u="none" strike="noStrike" kern="1200" cap="none" spc="0" normalizeH="0" baseline="0" noProof="0">
                <a:ln>
                  <a:noFill/>
                </a:ln>
                <a:solidFill>
                  <a:srgbClr val="86BC25"/>
                </a:solidFill>
                <a:effectLst/>
                <a:uLnTx/>
                <a:uFillTx/>
                <a:latin typeface="Calibri"/>
                <a:ea typeface="+mn-ea"/>
                <a:cs typeface="Calibri"/>
              </a:rPr>
              <a:t>.</a:t>
            </a:r>
            <a:r>
              <a:rPr kumimoji="0" lang="en-US" sz="900" b="1" i="0" u="none" strike="noStrike" kern="1200" cap="none" spc="0" normalizeH="0" baseline="0" noProof="0">
                <a:ln>
                  <a:noFill/>
                </a:ln>
                <a:solidFill>
                  <a:srgbClr val="92D050"/>
                </a:solidFill>
                <a:effectLst/>
                <a:uLnTx/>
                <a:uFillTx/>
                <a:latin typeface="Calibri"/>
                <a:ea typeface="+mn-ea"/>
                <a:cs typeface="Calibri"/>
              </a:rPr>
              <a:t>D</a:t>
            </a:r>
            <a:endParaRPr kumimoji="0" lang="en-US" sz="900" b="0" i="0" u="none" strike="noStrike" kern="1200" cap="none" spc="0" normalizeH="0" baseline="0" noProof="0">
              <a:ln>
                <a:noFill/>
              </a:ln>
              <a:solidFill>
                <a:sysClr val="windowText" lastClr="000000"/>
              </a:solidFill>
              <a:effectLst/>
              <a:uLnTx/>
              <a:uFillTx/>
              <a:latin typeface="Calibri" panose="020F0502020204030204" pitchFamily="34" charset="0"/>
              <a:ea typeface="+mn-ea"/>
              <a:cs typeface="Calibri" panose="020F0502020204030204" pitchFamily="34" charset="0"/>
            </a:endParaRPr>
          </a:p>
        </p:txBody>
      </p:sp>
      <p:sp>
        <p:nvSpPr>
          <p:cNvPr id="2" name="Title 1">
            <a:extLst>
              <a:ext uri="{FF2B5EF4-FFF2-40B4-BE49-F238E27FC236}">
                <a16:creationId xmlns:a16="http://schemas.microsoft.com/office/drawing/2014/main" id="{5372F094-9274-450D-A21A-0EC3593505AF}"/>
              </a:ext>
            </a:extLst>
          </p:cNvPr>
          <p:cNvSpPr>
            <a:spLocks noGrp="1"/>
          </p:cNvSpPr>
          <p:nvPr>
            <p:ph type="title"/>
          </p:nvPr>
        </p:nvSpPr>
        <p:spPr>
          <a:xfrm>
            <a:off x="943957" y="242501"/>
            <a:ext cx="10431063" cy="396875"/>
          </a:xfrm>
        </p:spPr>
        <p:txBody>
          <a:bodyPr/>
          <a:lstStyle>
            <a:lvl1pPr>
              <a:defRPr sz="2800">
                <a:solidFill>
                  <a:sysClr val="windowText" lastClr="000000"/>
                </a:solidFill>
              </a:defRPr>
            </a:lvl1pPr>
          </a:lstStyle>
          <a:p>
            <a:r>
              <a:rPr lang="en-US"/>
              <a:t>Click to edit Master title style</a:t>
            </a:r>
          </a:p>
        </p:txBody>
      </p:sp>
      <p:sp>
        <p:nvSpPr>
          <p:cNvPr id="6" name="Rectangle 5">
            <a:extLst>
              <a:ext uri="{FF2B5EF4-FFF2-40B4-BE49-F238E27FC236}">
                <a16:creationId xmlns:a16="http://schemas.microsoft.com/office/drawing/2014/main" id="{C259C4E3-0163-48C5-8671-908935DC5A8C}"/>
              </a:ext>
            </a:extLst>
          </p:cNvPr>
          <p:cNvSpPr/>
          <p:nvPr userDrawn="1"/>
        </p:nvSpPr>
        <p:spPr>
          <a:xfrm>
            <a:off x="11046691" y="6493164"/>
            <a:ext cx="258618" cy="103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89564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IOPS.D Divider">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FBE9B405-EAE9-496A-AD17-B18A8F1466F4}"/>
              </a:ext>
            </a:extLst>
          </p:cNvPr>
          <p:cNvGrpSpPr/>
          <p:nvPr userDrawn="1"/>
        </p:nvGrpSpPr>
        <p:grpSpPr>
          <a:xfrm>
            <a:off x="-11703" y="-3628"/>
            <a:ext cx="75101" cy="6861628"/>
            <a:chOff x="-11703" y="-3628"/>
            <a:chExt cx="75101" cy="6861628"/>
          </a:xfrm>
        </p:grpSpPr>
        <p:sp>
          <p:nvSpPr>
            <p:cNvPr id="26" name="Rectangle 25">
              <a:extLst>
                <a:ext uri="{FF2B5EF4-FFF2-40B4-BE49-F238E27FC236}">
                  <a16:creationId xmlns:a16="http://schemas.microsoft.com/office/drawing/2014/main" id="{45950369-0823-4EB7-AE29-6608C40E0A5A}"/>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B07D879-06AA-47AE-AF24-B32CBC18496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02BE7A0-6BAE-418A-A7A7-AFA27555FF0B}"/>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9718051-3569-4E7C-A616-401EE750DD79}"/>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2EDB8D7-F413-4C48-8181-C2182D03814F}"/>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4" name="Picture 33" descr="A picture containing reptile, dark&#10;&#10;Description automatically generated">
            <a:extLst>
              <a:ext uri="{FF2B5EF4-FFF2-40B4-BE49-F238E27FC236}">
                <a16:creationId xmlns:a16="http://schemas.microsoft.com/office/drawing/2014/main" id="{ED626463-C950-4583-9D4C-E9A2A6DD199C}"/>
              </a:ext>
            </a:extLst>
          </p:cNvPr>
          <p:cNvPicPr>
            <a:picLocks noChangeAspect="1"/>
          </p:cNvPicPr>
          <p:nvPr userDrawn="1"/>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t="2428" b="2285"/>
          <a:stretch/>
        </p:blipFill>
        <p:spPr>
          <a:xfrm>
            <a:off x="-11703" y="2996"/>
            <a:ext cx="12203703" cy="6855004"/>
          </a:xfrm>
          <a:prstGeom prst="rect">
            <a:avLst/>
          </a:prstGeom>
        </p:spPr>
      </p:pic>
      <p:sp>
        <p:nvSpPr>
          <p:cNvPr id="35" name="Rectangle 34">
            <a:extLst>
              <a:ext uri="{FF2B5EF4-FFF2-40B4-BE49-F238E27FC236}">
                <a16:creationId xmlns:a16="http://schemas.microsoft.com/office/drawing/2014/main" id="{F244ECC5-E4DF-4A23-B9B5-1CD4869F9C3A}"/>
              </a:ext>
            </a:extLst>
          </p:cNvPr>
          <p:cNvSpPr/>
          <p:nvPr userDrawn="1"/>
        </p:nvSpPr>
        <p:spPr bwMode="gray">
          <a:xfrm>
            <a:off x="0" y="2996"/>
            <a:ext cx="12205074" cy="6855004"/>
          </a:xfrm>
          <a:prstGeom prst="rect">
            <a:avLst/>
          </a:prstGeom>
          <a:solidFill>
            <a:schemeClr val="accent1">
              <a:alpha val="3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36" name="Title 1">
            <a:extLst>
              <a:ext uri="{FF2B5EF4-FFF2-40B4-BE49-F238E27FC236}">
                <a16:creationId xmlns:a16="http://schemas.microsoft.com/office/drawing/2014/main" id="{0A1A24D0-B7F5-480E-90D2-39D3303006BC}"/>
              </a:ext>
            </a:extLst>
          </p:cNvPr>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7" name="Text Placeholder 2">
            <a:extLst>
              <a:ext uri="{FF2B5EF4-FFF2-40B4-BE49-F238E27FC236}">
                <a16:creationId xmlns:a16="http://schemas.microsoft.com/office/drawing/2014/main" id="{8588C667-5BC5-4325-A832-3869C6456F2B}"/>
              </a:ext>
            </a:extLst>
          </p:cNvPr>
          <p:cNvSpPr>
            <a:spLocks noGrp="1"/>
          </p:cNvSpPr>
          <p:nvPr>
            <p:ph type="body" idx="1"/>
          </p:nvPr>
        </p:nvSpPr>
        <p:spPr bwMode="gray">
          <a:xfrm>
            <a:off x="463296" y="3474720"/>
            <a:ext cx="11227056" cy="1566532"/>
          </a:xfrm>
          <a:prstGeom prst="rect">
            <a:avLst/>
          </a:prstGeom>
        </p:spPr>
        <p:txBody>
          <a:bodyPr lIns="91440" tIns="45720" rIns="91440" bIns="4572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49" name="Copyright">
            <a:extLst>
              <a:ext uri="{FF2B5EF4-FFF2-40B4-BE49-F238E27FC236}">
                <a16:creationId xmlns:a16="http://schemas.microsoft.com/office/drawing/2014/main" id="{631EC9B5-85E8-48DC-8DF1-35637C1AFA83}"/>
              </a:ext>
            </a:extLst>
          </p:cNvPr>
          <p:cNvSpPr txBox="1"/>
          <p:nvPr userDrawn="1"/>
        </p:nvSpPr>
        <p:spPr>
          <a:xfrm>
            <a:off x="551688" y="6477000"/>
            <a:ext cx="5355167" cy="100027"/>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white"/>
                </a:solidFill>
                <a:effectLst/>
                <a:uLnTx/>
                <a:uFillTx/>
                <a:latin typeface="Open Sans"/>
                <a:ea typeface="+mn-ea"/>
                <a:cs typeface="Calibri" panose="020F0502020204030204" pitchFamily="34" charset="0"/>
              </a:rPr>
              <a:t>Copyright © 2022 Deloitte Development LLC. All rights reserved.</a:t>
            </a:r>
          </a:p>
        </p:txBody>
      </p:sp>
      <p:sp>
        <p:nvSpPr>
          <p:cNvPr id="50" name="TextBox 49">
            <a:extLst>
              <a:ext uri="{FF2B5EF4-FFF2-40B4-BE49-F238E27FC236}">
                <a16:creationId xmlns:a16="http://schemas.microsoft.com/office/drawing/2014/main" id="{70381104-E562-48C0-8C35-39E563553F2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a:t>
            </a:fld>
            <a:endParaRPr kumimoji="0" lang="en-US" sz="9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1" name="CaseCode">
            <a:extLst>
              <a:ext uri="{FF2B5EF4-FFF2-40B4-BE49-F238E27FC236}">
                <a16:creationId xmlns:a16="http://schemas.microsoft.com/office/drawing/2014/main" id="{13BB137B-3DA6-4EBA-A1C2-1BC16A2F3DFD}"/>
              </a:ext>
            </a:extLst>
          </p:cNvPr>
          <p:cNvSpPr txBox="1"/>
          <p:nvPr userDrawn="1"/>
        </p:nvSpPr>
        <p:spPr>
          <a:xfrm>
            <a:off x="6335184" y="6477000"/>
            <a:ext cx="4896560" cy="13849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prstClr val="white"/>
                </a:solidFill>
                <a:effectLst/>
                <a:uLnTx/>
                <a:uFillTx/>
                <a:latin typeface="Calibri"/>
                <a:ea typeface="+mn-ea"/>
                <a:cs typeface="Calibri"/>
              </a:rPr>
              <a:t>|  </a:t>
            </a:r>
            <a:r>
              <a:rPr kumimoji="0" lang="en-US" sz="900" b="1" i="0" u="none" strike="noStrike" kern="1200" cap="none" spc="0" normalizeH="0" baseline="0" noProof="0">
                <a:ln>
                  <a:noFill/>
                </a:ln>
                <a:solidFill>
                  <a:prstClr val="white"/>
                </a:solidFill>
                <a:effectLst/>
                <a:uLnTx/>
                <a:uFillTx/>
                <a:latin typeface="Calibri"/>
                <a:ea typeface="+mn-ea"/>
                <a:cs typeface="Calibri"/>
              </a:rPr>
              <a:t>AIOPS</a:t>
            </a:r>
            <a:r>
              <a:rPr kumimoji="0" lang="en-US" sz="900" b="1" i="0" u="none" strike="noStrike" kern="1200" cap="none" spc="0" normalizeH="0" baseline="0" noProof="0">
                <a:ln>
                  <a:noFill/>
                </a:ln>
                <a:solidFill>
                  <a:srgbClr val="86BC25"/>
                </a:solidFill>
                <a:effectLst/>
                <a:uLnTx/>
                <a:uFillTx/>
                <a:latin typeface="Calibri"/>
                <a:ea typeface="+mn-ea"/>
                <a:cs typeface="Calibri"/>
              </a:rPr>
              <a:t>.</a:t>
            </a:r>
            <a:r>
              <a:rPr kumimoji="0" lang="en-US" sz="900" b="1" i="0" u="none" strike="noStrike" kern="1200" cap="none" spc="0" normalizeH="0" baseline="0" noProof="0">
                <a:ln>
                  <a:noFill/>
                </a:ln>
                <a:solidFill>
                  <a:srgbClr val="92D050"/>
                </a:solidFill>
                <a:effectLst/>
                <a:uLnTx/>
                <a:uFillTx/>
                <a:latin typeface="Calibri"/>
                <a:ea typeface="+mn-ea"/>
                <a:cs typeface="Calibri"/>
              </a:rPr>
              <a:t>D</a:t>
            </a:r>
            <a:endParaRPr kumimoji="0" lang="en-US" sz="900" b="0" i="0" u="none" strike="noStrike" kern="1200" cap="none" spc="0" normalizeH="0" baseline="0" noProof="0">
              <a:ln>
                <a:noFill/>
              </a:ln>
              <a:solidFill>
                <a:srgbClr val="92D05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78964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71A25-8889-4EF6-92A8-E24AA8DCAC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737FD1-E7A6-4FCC-BA33-A9F9D83D1D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9F6B3A-77A3-47C9-9237-91D879C6CE72}"/>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1764939C-74B6-44D3-8C7F-FEF61D7243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322973-4176-4D24-9E58-BDDF2ACEE890}"/>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243803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2734759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3"/>
            <a:ext cx="11188699" cy="4069013"/>
          </a:xfrm>
          <a:prstGeom prst="rect">
            <a:avLst/>
          </a:prstGeom>
        </p:spPr>
        <p:txBody>
          <a:bodyPr>
            <a:noAutofit/>
          </a:bodyPr>
          <a:lstStyle>
            <a:lvl1pPr>
              <a:defRPr sz="1200"/>
            </a:lvl1pPr>
          </a:lstStyle>
          <a:p>
            <a:r>
              <a:rPr lang="en-US"/>
              <a:t>Click icon to add chart</a:t>
            </a:r>
            <a:endParaRPr lang="en-GB" dirty="0"/>
          </a:p>
        </p:txBody>
      </p:sp>
      <p:sp>
        <p:nvSpPr>
          <p:cNvPr id="18" name="Text Placeholder 8"/>
          <p:cNvSpPr>
            <a:spLocks noGrp="1"/>
          </p:cNvSpPr>
          <p:nvPr>
            <p:ph type="body" sz="quarter" idx="18"/>
          </p:nvPr>
        </p:nvSpPr>
        <p:spPr>
          <a:xfrm>
            <a:off x="501653" y="1674088"/>
            <a:ext cx="11188699" cy="357187"/>
          </a:xfrm>
        </p:spPr>
        <p:txBody>
          <a:bodyPr>
            <a:noAutofit/>
          </a:bodyPr>
          <a:lstStyle>
            <a:lvl1pPr>
              <a:defRPr sz="1200"/>
            </a:lvl1pPr>
          </a:lstStyle>
          <a:p>
            <a:pPr lvl="0"/>
            <a:r>
              <a:rPr lang="en-US" noProof="0" dirty="0"/>
              <a:t>Click to edit Master text styles</a:t>
            </a:r>
          </a:p>
        </p:txBody>
      </p:sp>
      <p:sp>
        <p:nvSpPr>
          <p:cNvPr id="19" name="Text Placeholder 7"/>
          <p:cNvSpPr>
            <a:spLocks noGrp="1"/>
          </p:cNvSpPr>
          <p:nvPr>
            <p:ph type="body" sz="quarter" idx="23"/>
          </p:nvPr>
        </p:nvSpPr>
        <p:spPr>
          <a:xfrm>
            <a:off x="501652" y="6121017"/>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086329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1" y="1665292"/>
            <a:ext cx="5355166"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9"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2" y="6121017"/>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783401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1510275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6764751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3743468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6882D-36BD-4150-AE96-480C305482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1FFF88-6072-4A9C-A3EE-08F75106E6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D294DF-C83E-4FD7-B415-644FEE54ADC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D2FC46-3A28-4E18-B327-2FBF1E90CE21}"/>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6" name="Footer Placeholder 5">
            <a:extLst>
              <a:ext uri="{FF2B5EF4-FFF2-40B4-BE49-F238E27FC236}">
                <a16:creationId xmlns:a16="http://schemas.microsoft.com/office/drawing/2014/main" id="{B26FD646-300E-4C55-89A6-185A0E8277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CAD678-C9AA-45FD-88B6-D78C85A2CBF6}"/>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1495750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3AB03-18FE-4653-BDE2-C8970D21B03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D67F6D-A40A-46F7-B8AE-3C8B283923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1FB55F-5DD4-45CE-9157-25C56EC9CB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C9F9F3-44AB-4C8E-B574-395459654A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BBAB50D-295E-4F6F-93C3-23A35504E0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7583F9-3CBC-46E9-885B-7965C517268D}"/>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8" name="Footer Placeholder 7">
            <a:extLst>
              <a:ext uri="{FF2B5EF4-FFF2-40B4-BE49-F238E27FC236}">
                <a16:creationId xmlns:a16="http://schemas.microsoft.com/office/drawing/2014/main" id="{94F01CAD-8F99-4305-9652-28FD2B5A0F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873E9A7-8F2E-4984-93E8-4089A068708B}"/>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2204413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C9B18-2A96-4D39-8166-122C095383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0D8A5BF-9D75-481D-8CBC-C783A531B968}"/>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4" name="Footer Placeholder 3">
            <a:extLst>
              <a:ext uri="{FF2B5EF4-FFF2-40B4-BE49-F238E27FC236}">
                <a16:creationId xmlns:a16="http://schemas.microsoft.com/office/drawing/2014/main" id="{C251FF1E-C90E-467B-AE8A-0662AFB48F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C53B06-46E0-4746-8DC3-4F54FACF4F0C}"/>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857794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301892-8BA2-42B7-A6A3-3BCDAC0DBE0F}"/>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3" name="Footer Placeholder 2">
            <a:extLst>
              <a:ext uri="{FF2B5EF4-FFF2-40B4-BE49-F238E27FC236}">
                <a16:creationId xmlns:a16="http://schemas.microsoft.com/office/drawing/2014/main" id="{20A14F19-5918-42BD-A54B-623145F1497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E9851E-42BA-4F10-BB6E-68880A0B14EF}"/>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3099415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1CE89-FF57-48E3-B6BD-770F0EE640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A0A754D-BD58-4D29-A374-8FB22775B7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1900B0-6B45-42B0-ABAF-3A5770D627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0BFAB6-62AF-4DE4-BD67-890B6A3643DC}"/>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6" name="Footer Placeholder 5">
            <a:extLst>
              <a:ext uri="{FF2B5EF4-FFF2-40B4-BE49-F238E27FC236}">
                <a16:creationId xmlns:a16="http://schemas.microsoft.com/office/drawing/2014/main" id="{26498C4B-918E-4999-BF2C-5F604281A5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5FC661-6817-4C08-9C56-F5B559E70054}"/>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3562406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3629C-63BB-4A1C-80D6-F7D7DE98E4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7C9D2F5-D08B-4B76-9780-679C155829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142A8F5-879A-4F12-9DFD-0B59E9B080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654500-3D4C-4D62-A73A-0BC99CDCEE9D}"/>
              </a:ext>
            </a:extLst>
          </p:cNvPr>
          <p:cNvSpPr>
            <a:spLocks noGrp="1"/>
          </p:cNvSpPr>
          <p:nvPr>
            <p:ph type="dt" sz="half" idx="10"/>
          </p:nvPr>
        </p:nvSpPr>
        <p:spPr/>
        <p:txBody>
          <a:bodyPr/>
          <a:lstStyle/>
          <a:p>
            <a:fld id="{E46872AC-2AC3-41A0-8359-CB643831CFA5}" type="datetimeFigureOut">
              <a:rPr lang="en-US" smtClean="0"/>
              <a:t>4/5/2023</a:t>
            </a:fld>
            <a:endParaRPr lang="en-US"/>
          </a:p>
        </p:txBody>
      </p:sp>
      <p:sp>
        <p:nvSpPr>
          <p:cNvPr id="6" name="Footer Placeholder 5">
            <a:extLst>
              <a:ext uri="{FF2B5EF4-FFF2-40B4-BE49-F238E27FC236}">
                <a16:creationId xmlns:a16="http://schemas.microsoft.com/office/drawing/2014/main" id="{C06FB861-EB0F-4106-9469-07AED5FE18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9BFCBF-1416-450F-89D6-63E04629027C}"/>
              </a:ext>
            </a:extLst>
          </p:cNvPr>
          <p:cNvSpPr>
            <a:spLocks noGrp="1"/>
          </p:cNvSpPr>
          <p:nvPr>
            <p:ph type="sldNum" sz="quarter" idx="12"/>
          </p:nvPr>
        </p:nvSpPr>
        <p:spPr/>
        <p:txBody>
          <a:bodyPr/>
          <a:lstStyle/>
          <a:p>
            <a:fld id="{3AD38EB1-ABF4-4425-B12E-69E5D078468B}" type="slidenum">
              <a:rPr lang="en-US" smtClean="0"/>
              <a:t>‹#›</a:t>
            </a:fld>
            <a:endParaRPr lang="en-US"/>
          </a:p>
        </p:txBody>
      </p:sp>
    </p:spTree>
    <p:extLst>
      <p:ext uri="{BB962C8B-B14F-4D97-AF65-F5344CB8AC3E}">
        <p14:creationId xmlns:p14="http://schemas.microsoft.com/office/powerpoint/2010/main" val="1224398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oleObject" Target="../embeddings/oleObject1.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00420A-5244-4448-BDA1-5F8B077D83A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2B5261-6885-42F9-AFFB-D8A1E7D93E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E243E5-F97C-486D-870F-99027D1C61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872AC-2AC3-41A0-8359-CB643831CFA5}" type="datetimeFigureOut">
              <a:rPr lang="en-US" smtClean="0"/>
              <a:t>4/5/2023</a:t>
            </a:fld>
            <a:endParaRPr lang="en-US"/>
          </a:p>
        </p:txBody>
      </p:sp>
      <p:sp>
        <p:nvSpPr>
          <p:cNvPr id="5" name="Footer Placeholder 4">
            <a:extLst>
              <a:ext uri="{FF2B5EF4-FFF2-40B4-BE49-F238E27FC236}">
                <a16:creationId xmlns:a16="http://schemas.microsoft.com/office/drawing/2014/main" id="{F31E40BF-072D-4B08-9053-722C8651398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C64269-6BA8-4DB8-9C2D-EE92557E26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D38EB1-ABF4-4425-B12E-69E5D078468B}" type="slidenum">
              <a:rPr lang="en-US" smtClean="0"/>
              <a:t>‹#›</a:t>
            </a:fld>
            <a:endParaRPr lang="en-US"/>
          </a:p>
        </p:txBody>
      </p:sp>
    </p:spTree>
    <p:extLst>
      <p:ext uri="{BB962C8B-B14F-4D97-AF65-F5344CB8AC3E}">
        <p14:creationId xmlns:p14="http://schemas.microsoft.com/office/powerpoint/2010/main" val="2364270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CaseCode">
            <a:extLst>
              <a:ext uri="{FF2B5EF4-FFF2-40B4-BE49-F238E27FC236}">
                <a16:creationId xmlns:a16="http://schemas.microsoft.com/office/drawing/2014/main" id="{AA15CBCA-2745-4663-A0C6-377FADE08864}"/>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Performance: </a:t>
            </a:r>
            <a:r>
              <a:rPr lang="en-US" sz="900" b="1" i="0" noProof="0">
                <a:solidFill>
                  <a:schemeClr val="bg1"/>
                </a:solidFill>
                <a:latin typeface="Calibri" panose="020F0502020204030204" pitchFamily="34" charset="0"/>
                <a:cs typeface="Calibri" panose="020F0502020204030204" pitchFamily="34" charset="0"/>
              </a:rPr>
              <a:t>AI Ops </a:t>
            </a:r>
            <a:r>
              <a:rPr lang="en-US" sz="900" noProof="0">
                <a:solidFill>
                  <a:schemeClr val="bg1"/>
                </a:solidFill>
                <a:latin typeface="Calibri" panose="020F0502020204030204" pitchFamily="34" charset="0"/>
                <a:cs typeface="Calibri" panose="020F0502020204030204" pitchFamily="34" charset="0"/>
              </a:rPr>
              <a:t>Market Offering</a:t>
            </a:r>
          </a:p>
        </p:txBody>
      </p:sp>
      <p:sp>
        <p:nvSpPr>
          <p:cNvPr id="7" name="Copyright">
            <a:extLst>
              <a:ext uri="{FF2B5EF4-FFF2-40B4-BE49-F238E27FC236}">
                <a16:creationId xmlns:a16="http://schemas.microsoft.com/office/drawing/2014/main" id="{C9276963-FD5D-43CC-BB18-1560C3FD618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bg1"/>
                </a:solidFill>
                <a:latin typeface="+mn-lt"/>
                <a:cs typeface="Calibri" panose="020F0502020204030204" pitchFamily="34" charset="0"/>
              </a:rPr>
              <a:t>Copyright © 2021 Deloitte Development LLC. All rights reserved.</a:t>
            </a:r>
          </a:p>
        </p:txBody>
      </p:sp>
      <p:sp>
        <p:nvSpPr>
          <p:cNvPr id="8" name="TextBox 7">
            <a:extLst>
              <a:ext uri="{FF2B5EF4-FFF2-40B4-BE49-F238E27FC236}">
                <a16:creationId xmlns:a16="http://schemas.microsoft.com/office/drawing/2014/main" id="{71EA6B96-2EFA-4449-9492-BBF321923B6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942485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www.sciencedirect.com/science/article/pii/S0952197621001950" TargetMode="External"/><Relationship Id="rId7" Type="http://schemas.openxmlformats.org/officeDocument/2006/relationships/hyperlink" Target="https://www.jcchouinard.com/confusion-matrix-in-scikit-learn/" TargetMode="External"/><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hyperlink" Target="https://www.analyticsvidhya.com/blog/2020/09/precision-recall-machine-learning/" TargetMode="External"/><Relationship Id="rId5" Type="http://schemas.openxmlformats.org/officeDocument/2006/relationships/hyperlink" Target="https://akbarikevin.medium.com/feature-selection-with-lasso-and-ridge-regression-9cdeda716cdd" TargetMode="External"/><Relationship Id="rId4" Type="http://schemas.openxmlformats.org/officeDocument/2006/relationships/hyperlink" Target="https://www.kaggle.com/datasets/shashwatwork/web-page-phishing-detection-dataset"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0.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Layout" Target="../slideLayouts/slideLayout34.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5.xml"/><Relationship Id="rId1" Type="http://schemas.openxmlformats.org/officeDocument/2006/relationships/tags" Target="../tags/tag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8">
            <a:extLst>
              <a:ext uri="{FF2B5EF4-FFF2-40B4-BE49-F238E27FC236}">
                <a16:creationId xmlns:a16="http://schemas.microsoft.com/office/drawing/2014/main" id="{4A7B3890-6F9D-43D4-93D9-6E6259728C30}"/>
              </a:ext>
            </a:extLst>
          </p:cNvPr>
          <p:cNvPicPr>
            <a:picLocks noGrp="1" noChangeAspect="1"/>
          </p:cNvPicPr>
          <p:nvPr>
            <p:ph type="pic" sz="quarter" idx="4294967295"/>
          </p:nvPr>
        </p:nvPicPr>
        <p:blipFill>
          <a:blip r:embed="rId2"/>
          <a:srcRect l="15" r="15"/>
          <a:stretch>
            <a:fillRect/>
          </a:stretch>
        </p:blipFill>
        <p:spPr>
          <a:xfrm>
            <a:off x="3403392" y="727200"/>
            <a:ext cx="5400000" cy="5400000"/>
          </a:xfrm>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418477" y="4472107"/>
            <a:ext cx="3612594" cy="895983"/>
          </a:xfrm>
        </p:spPr>
        <p:txBody>
          <a:bodyPr/>
          <a:lstStyle/>
          <a:p>
            <a:r>
              <a:rPr lang="en-US" b="1" dirty="0">
                <a:solidFill>
                  <a:srgbClr val="92D050"/>
                </a:solidFill>
              </a:rPr>
              <a:t>Fishing Out Phishing Websites</a:t>
            </a: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4294967295"/>
          </p:nvPr>
        </p:nvSpPr>
        <p:spPr>
          <a:xfrm>
            <a:off x="418477" y="6233705"/>
            <a:ext cx="6440916" cy="273050"/>
          </a:xfrm>
        </p:spPr>
        <p:txBody>
          <a:bodyPr>
            <a:noAutofit/>
          </a:bodyPr>
          <a:lstStyle/>
          <a:p>
            <a:pPr marL="0" indent="0">
              <a:buNone/>
            </a:pPr>
            <a:r>
              <a:rPr lang="en-US" sz="1800" dirty="0">
                <a:solidFill>
                  <a:schemeClr val="bg1"/>
                </a:solidFill>
              </a:rPr>
              <a:t>AI Academy Capstone | Sunmisola Ogundairo</a:t>
            </a:r>
            <a:endParaRPr lang="en-US" sz="1800" dirty="0"/>
          </a:p>
        </p:txBody>
      </p:sp>
      <p:pic>
        <p:nvPicPr>
          <p:cNvPr id="13" name="Picture 12">
            <a:extLst>
              <a:ext uri="{FF2B5EF4-FFF2-40B4-BE49-F238E27FC236}">
                <a16:creationId xmlns:a16="http://schemas.microsoft.com/office/drawing/2014/main" id="{F2F75552-2DB4-4E4A-A6A7-7076D7F25E71}"/>
              </a:ext>
            </a:extLst>
          </p:cNvPr>
          <p:cNvPicPr>
            <a:picLocks noChangeAspect="1"/>
          </p:cNvPicPr>
          <p:nvPr/>
        </p:nvPicPr>
        <p:blipFill>
          <a:blip r:embed="rId3"/>
          <a:srcRect/>
          <a:stretch/>
        </p:blipFill>
        <p:spPr>
          <a:xfrm>
            <a:off x="9570287" y="5505025"/>
            <a:ext cx="1271884" cy="1271884"/>
          </a:xfrm>
          <a:prstGeom prst="rect">
            <a:avLst/>
          </a:prstGeom>
        </p:spPr>
      </p:pic>
    </p:spTree>
    <p:extLst>
      <p:ext uri="{BB962C8B-B14F-4D97-AF65-F5344CB8AC3E}">
        <p14:creationId xmlns:p14="http://schemas.microsoft.com/office/powerpoint/2010/main" val="139569154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6096000" y="3209682"/>
            <a:ext cx="0" cy="5657849"/>
          </a:xfrm>
          <a:prstGeom prst="line">
            <a:avLst/>
          </a:prstGeom>
          <a:ln w="19050">
            <a:noFill/>
          </a:ln>
        </p:spPr>
        <p:style>
          <a:lnRef idx="1">
            <a:schemeClr val="dk1"/>
          </a:lnRef>
          <a:fillRef idx="0">
            <a:schemeClr val="dk1"/>
          </a:fillRef>
          <a:effectRef idx="0">
            <a:schemeClr val="dk1"/>
          </a:effectRef>
          <a:fontRef idx="minor">
            <a:schemeClr val="tx1"/>
          </a:fontRef>
        </p:style>
      </p:cxnSp>
      <p:grpSp>
        <p:nvGrpSpPr>
          <p:cNvPr id="19" name="Group 18"/>
          <p:cNvGrpSpPr/>
          <p:nvPr/>
        </p:nvGrpSpPr>
        <p:grpSpPr>
          <a:xfrm>
            <a:off x="3385778" y="1594088"/>
            <a:ext cx="5885573" cy="4076910"/>
            <a:chOff x="958366" y="982450"/>
            <a:chExt cx="7847431" cy="5435880"/>
          </a:xfrm>
        </p:grpSpPr>
        <p:sp>
          <p:nvSpPr>
            <p:cNvPr id="10" name="Oval 9"/>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66675" tIns="66675" rIns="66675" bIns="66675" rtlCol="0" anchor="ctr"/>
            <a:lstStyle/>
            <a:p>
              <a:pPr algn="ctr" defTabSz="685800">
                <a:lnSpc>
                  <a:spcPct val="106000"/>
                </a:lnSpc>
                <a:defRPr/>
              </a:pPr>
              <a:endParaRPr lang="en-US" sz="1200" b="1" dirty="0">
                <a:solidFill>
                  <a:prstClr val="white"/>
                </a:solidFill>
                <a:latin typeface="Calibri Light"/>
              </a:endParaRPr>
            </a:p>
          </p:txBody>
        </p:sp>
        <p:sp>
          <p:nvSpPr>
            <p:cNvPr id="11" name="Rectangle 10"/>
            <p:cNvSpPr/>
            <p:nvPr/>
          </p:nvSpPr>
          <p:spPr bwMode="gray">
            <a:xfrm>
              <a:off x="958366" y="982450"/>
              <a:ext cx="5060516" cy="5435880"/>
            </a:xfrm>
            <a:prstGeom prst="rect">
              <a:avLst/>
            </a:prstGeom>
            <a:solidFill>
              <a:schemeClr val="bg1"/>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dirty="0">
                <a:solidFill>
                  <a:prstClr val="white"/>
                </a:solidFill>
                <a:latin typeface="Calibri Light"/>
              </a:endParaRPr>
            </a:p>
          </p:txBody>
        </p:sp>
      </p:grpSp>
      <p:sp>
        <p:nvSpPr>
          <p:cNvPr id="67" name="Rectangle 66"/>
          <p:cNvSpPr/>
          <p:nvPr/>
        </p:nvSpPr>
        <p:spPr>
          <a:xfrm>
            <a:off x="6291561" y="3033495"/>
            <a:ext cx="2295873" cy="1038746"/>
          </a:xfrm>
          <a:prstGeom prst="rect">
            <a:avLst/>
          </a:prstGeom>
        </p:spPr>
        <p:txBody>
          <a:bodyPr wrap="square">
            <a:spAutoFit/>
          </a:bodyPr>
          <a:lstStyle/>
          <a:p>
            <a:pPr defTabSz="685800">
              <a:defRPr/>
            </a:pPr>
            <a:endParaRPr lang="en-US" sz="2100" b="1" dirty="0">
              <a:solidFill>
                <a:prstClr val="white"/>
              </a:solidFill>
              <a:latin typeface="Calibri Light"/>
            </a:endParaRPr>
          </a:p>
          <a:p>
            <a:pPr defTabSz="685800">
              <a:defRPr/>
            </a:pPr>
            <a:r>
              <a:rPr lang="en-US" sz="1350" dirty="0">
                <a:solidFill>
                  <a:prstClr val="white"/>
                </a:solidFill>
                <a:latin typeface="Open Sans"/>
              </a:rPr>
              <a:t>Other ways to expand the project to detect phishing</a:t>
            </a:r>
            <a:endParaRPr lang="en-US" sz="2100" b="1" dirty="0">
              <a:solidFill>
                <a:prstClr val="white"/>
              </a:solidFill>
              <a:latin typeface="Calibri Light"/>
            </a:endParaRPr>
          </a:p>
          <a:p>
            <a:pPr defTabSz="685800">
              <a:defRPr/>
            </a:pPr>
            <a:endParaRPr lang="en-US" sz="1350" b="1" dirty="0">
              <a:solidFill>
                <a:prstClr val="white"/>
              </a:solidFill>
              <a:latin typeface="Calibri Light"/>
            </a:endParaRPr>
          </a:p>
        </p:txBody>
      </p:sp>
      <p:grpSp>
        <p:nvGrpSpPr>
          <p:cNvPr id="15" name="Group 14"/>
          <p:cNvGrpSpPr/>
          <p:nvPr/>
        </p:nvGrpSpPr>
        <p:grpSpPr>
          <a:xfrm>
            <a:off x="5065736" y="1432270"/>
            <a:ext cx="2181097" cy="415498"/>
            <a:chOff x="3198310" y="766692"/>
            <a:chExt cx="2908129" cy="553998"/>
          </a:xfrm>
        </p:grpSpPr>
        <p:sp>
          <p:nvSpPr>
            <p:cNvPr id="12" name="Rectangle 11"/>
            <p:cNvSpPr/>
            <p:nvPr/>
          </p:nvSpPr>
          <p:spPr bwMode="gray">
            <a:xfrm>
              <a:off x="3942427" y="841716"/>
              <a:ext cx="2164012" cy="403951"/>
            </a:xfrm>
            <a:prstGeom prst="rect">
              <a:avLst/>
            </a:prstGeom>
            <a:solidFill>
              <a:srgbClr val="43B02A"/>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Email Phishing </a:t>
              </a:r>
            </a:p>
          </p:txBody>
        </p:sp>
        <p:sp>
          <p:nvSpPr>
            <p:cNvPr id="13" name="TextBox 12"/>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1</a:t>
              </a:r>
            </a:p>
          </p:txBody>
        </p:sp>
      </p:grpSp>
      <p:grpSp>
        <p:nvGrpSpPr>
          <p:cNvPr id="73" name="Group 72"/>
          <p:cNvGrpSpPr/>
          <p:nvPr/>
        </p:nvGrpSpPr>
        <p:grpSpPr>
          <a:xfrm>
            <a:off x="3668921" y="2208956"/>
            <a:ext cx="2181097" cy="415498"/>
            <a:chOff x="3198310" y="766692"/>
            <a:chExt cx="2908129" cy="553998"/>
          </a:xfrm>
        </p:grpSpPr>
        <p:sp>
          <p:nvSpPr>
            <p:cNvPr id="74" name="Rectangle 73"/>
            <p:cNvSpPr/>
            <p:nvPr/>
          </p:nvSpPr>
          <p:spPr bwMode="gray">
            <a:xfrm>
              <a:off x="3942427" y="841716"/>
              <a:ext cx="2164012" cy="403951"/>
            </a:xfrm>
            <a:prstGeom prst="rect">
              <a:avLst/>
            </a:prstGeom>
            <a:solidFill>
              <a:srgbClr val="009A44"/>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Scam Text </a:t>
              </a:r>
            </a:p>
          </p:txBody>
        </p:sp>
        <p:sp>
          <p:nvSpPr>
            <p:cNvPr id="75" name="TextBox 74"/>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2</a:t>
              </a:r>
            </a:p>
          </p:txBody>
        </p:sp>
      </p:grpSp>
      <p:grpSp>
        <p:nvGrpSpPr>
          <p:cNvPr id="78" name="Group 77"/>
          <p:cNvGrpSpPr/>
          <p:nvPr/>
        </p:nvGrpSpPr>
        <p:grpSpPr>
          <a:xfrm>
            <a:off x="3263559" y="2985643"/>
            <a:ext cx="2181097" cy="415498"/>
            <a:chOff x="3198310" y="766692"/>
            <a:chExt cx="2908129" cy="553998"/>
          </a:xfrm>
        </p:grpSpPr>
        <p:sp>
          <p:nvSpPr>
            <p:cNvPr id="79" name="Rectangle 78"/>
            <p:cNvSpPr/>
            <p:nvPr/>
          </p:nvSpPr>
          <p:spPr bwMode="gray">
            <a:xfrm>
              <a:off x="3942427" y="841716"/>
              <a:ext cx="2164012" cy="403951"/>
            </a:xfrm>
            <a:prstGeom prst="rect">
              <a:avLst/>
            </a:prstGeom>
            <a:solidFill>
              <a:srgbClr val="0097A9"/>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Shortened URL</a:t>
              </a:r>
            </a:p>
          </p:txBody>
        </p:sp>
        <p:sp>
          <p:nvSpPr>
            <p:cNvPr id="80" name="TextBox 79"/>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3</a:t>
              </a:r>
            </a:p>
          </p:txBody>
        </p:sp>
      </p:grpSp>
      <p:grpSp>
        <p:nvGrpSpPr>
          <p:cNvPr id="83" name="Group 82"/>
          <p:cNvGrpSpPr/>
          <p:nvPr/>
        </p:nvGrpSpPr>
        <p:grpSpPr>
          <a:xfrm>
            <a:off x="3233639" y="3762329"/>
            <a:ext cx="2181097" cy="415498"/>
            <a:chOff x="3198310" y="766692"/>
            <a:chExt cx="2908129" cy="553998"/>
          </a:xfrm>
        </p:grpSpPr>
        <p:sp>
          <p:nvSpPr>
            <p:cNvPr id="84" name="Rectangle 83"/>
            <p:cNvSpPr/>
            <p:nvPr/>
          </p:nvSpPr>
          <p:spPr bwMode="gray">
            <a:xfrm>
              <a:off x="3942427" y="841716"/>
              <a:ext cx="2164012" cy="403951"/>
            </a:xfrm>
            <a:prstGeom prst="rect">
              <a:avLst/>
            </a:prstGeom>
            <a:solidFill>
              <a:srgbClr val="007680"/>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Browser Embedded</a:t>
              </a:r>
            </a:p>
          </p:txBody>
        </p:sp>
        <p:sp>
          <p:nvSpPr>
            <p:cNvPr id="85" name="TextBox 84"/>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4</a:t>
              </a:r>
            </a:p>
          </p:txBody>
        </p:sp>
      </p:grpSp>
      <p:grpSp>
        <p:nvGrpSpPr>
          <p:cNvPr id="88" name="Group 87"/>
          <p:cNvGrpSpPr/>
          <p:nvPr/>
        </p:nvGrpSpPr>
        <p:grpSpPr>
          <a:xfrm>
            <a:off x="3665153" y="4539016"/>
            <a:ext cx="2181097" cy="415498"/>
            <a:chOff x="3198310" y="766692"/>
            <a:chExt cx="2908129" cy="553998"/>
          </a:xfrm>
        </p:grpSpPr>
        <p:sp>
          <p:nvSpPr>
            <p:cNvPr id="89" name="Rectangle 88"/>
            <p:cNvSpPr/>
            <p:nvPr/>
          </p:nvSpPr>
          <p:spPr bwMode="gray">
            <a:xfrm>
              <a:off x="3942427" y="841716"/>
              <a:ext cx="2164012" cy="403951"/>
            </a:xfrm>
            <a:prstGeom prst="rect">
              <a:avLst/>
            </a:prstGeom>
            <a:solidFill>
              <a:srgbClr val="004F59"/>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Increased Data</a:t>
              </a:r>
            </a:p>
          </p:txBody>
        </p:sp>
        <p:sp>
          <p:nvSpPr>
            <p:cNvPr id="90" name="TextBox 89"/>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5</a:t>
              </a:r>
            </a:p>
          </p:txBody>
        </p:sp>
      </p:grpSp>
      <p:grpSp>
        <p:nvGrpSpPr>
          <p:cNvPr id="93" name="Group 92"/>
          <p:cNvGrpSpPr/>
          <p:nvPr/>
        </p:nvGrpSpPr>
        <p:grpSpPr>
          <a:xfrm>
            <a:off x="5067303" y="5315701"/>
            <a:ext cx="2181097" cy="415498"/>
            <a:chOff x="3198310" y="766692"/>
            <a:chExt cx="2908129" cy="553998"/>
          </a:xfrm>
        </p:grpSpPr>
        <p:sp>
          <p:nvSpPr>
            <p:cNvPr id="94" name="Rectangle 93"/>
            <p:cNvSpPr/>
            <p:nvPr/>
          </p:nvSpPr>
          <p:spPr bwMode="gray">
            <a:xfrm>
              <a:off x="3942427" y="841716"/>
              <a:ext cx="2164012" cy="403951"/>
            </a:xfrm>
            <a:prstGeom prst="rect">
              <a:avLst/>
            </a:prstGeom>
            <a:solidFill>
              <a:srgbClr val="005587"/>
            </a:solidFill>
            <a:ln w="19050" algn="ctr">
              <a:noFill/>
              <a:miter lim="800000"/>
              <a:headEnd/>
              <a:tailEnd/>
            </a:ln>
          </p:spPr>
          <p:txBody>
            <a:bodyPr wrap="square" lIns="66675" tIns="66675" rIns="66675" bIns="66675" rtlCol="0" anchor="ctr"/>
            <a:lstStyle/>
            <a:p>
              <a:pPr algn="ctr" defTabSz="685800">
                <a:defRPr/>
              </a:pPr>
              <a:r>
                <a:rPr lang="en-US" sz="1200" b="1" dirty="0">
                  <a:solidFill>
                    <a:prstClr val="white"/>
                  </a:solidFill>
                </a:rPr>
                <a:t>Actionable Detection</a:t>
              </a:r>
            </a:p>
          </p:txBody>
        </p:sp>
        <p:sp>
          <p:nvSpPr>
            <p:cNvPr id="95" name="TextBox 94"/>
            <p:cNvSpPr txBox="1"/>
            <p:nvPr/>
          </p:nvSpPr>
          <p:spPr>
            <a:xfrm>
              <a:off x="3198310" y="766692"/>
              <a:ext cx="805844" cy="553998"/>
            </a:xfrm>
            <a:prstGeom prst="rect">
              <a:avLst/>
            </a:prstGeom>
            <a:noFill/>
          </p:spPr>
          <p:txBody>
            <a:bodyPr wrap="square" lIns="0" tIns="0" rIns="0" bIns="0" rtlCol="0">
              <a:spAutoFit/>
            </a:bodyPr>
            <a:lstStyle/>
            <a:p>
              <a:pPr defTabSz="685800">
                <a:spcBef>
                  <a:spcPts val="450"/>
                </a:spcBef>
                <a:buSzPct val="100000"/>
                <a:defRPr/>
              </a:pPr>
              <a:r>
                <a:rPr lang="en-US" sz="2700" dirty="0">
                  <a:solidFill>
                    <a:prstClr val="white"/>
                  </a:solidFill>
                  <a:latin typeface="Calibri Light"/>
                </a:rPr>
                <a:t>06</a:t>
              </a:r>
            </a:p>
          </p:txBody>
        </p:sp>
      </p:grpSp>
      <p:sp>
        <p:nvSpPr>
          <p:cNvPr id="7" name="Title 6">
            <a:extLst>
              <a:ext uri="{FF2B5EF4-FFF2-40B4-BE49-F238E27FC236}">
                <a16:creationId xmlns:a16="http://schemas.microsoft.com/office/drawing/2014/main" id="{F67D2192-777B-9743-B5F6-01BFE77BB7EA}"/>
              </a:ext>
            </a:extLst>
          </p:cNvPr>
          <p:cNvSpPr>
            <a:spLocks noGrp="1"/>
          </p:cNvSpPr>
          <p:nvPr>
            <p:ph type="title"/>
          </p:nvPr>
        </p:nvSpPr>
        <p:spPr/>
        <p:txBody>
          <a:bodyPr/>
          <a:lstStyle/>
          <a:p>
            <a:r>
              <a:rPr lang="en-US" b="1" dirty="0"/>
              <a:t>Proposed Improvements/Expansion</a:t>
            </a:r>
          </a:p>
        </p:txBody>
      </p:sp>
    </p:spTree>
    <p:extLst>
      <p:ext uri="{BB962C8B-B14F-4D97-AF65-F5344CB8AC3E}">
        <p14:creationId xmlns:p14="http://schemas.microsoft.com/office/powerpoint/2010/main" val="424658508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2F7C6-886D-47A2-B5FC-DF631D44B156}"/>
              </a:ext>
            </a:extLst>
          </p:cNvPr>
          <p:cNvSpPr>
            <a:spLocks noGrp="1"/>
          </p:cNvSpPr>
          <p:nvPr>
            <p:ph type="title"/>
          </p:nvPr>
        </p:nvSpPr>
        <p:spPr>
          <a:xfrm>
            <a:off x="4828146" y="3228891"/>
            <a:ext cx="2820319" cy="543467"/>
          </a:xfrm>
        </p:spPr>
        <p:txBody>
          <a:bodyPr/>
          <a:lstStyle/>
          <a:p>
            <a:r>
              <a:rPr lang="en-US" sz="3600" b="1" dirty="0"/>
              <a:t>Questions</a:t>
            </a:r>
          </a:p>
        </p:txBody>
      </p:sp>
      <p:grpSp>
        <p:nvGrpSpPr>
          <p:cNvPr id="3" name="Group 3">
            <a:extLst>
              <a:ext uri="{FF2B5EF4-FFF2-40B4-BE49-F238E27FC236}">
                <a16:creationId xmlns:a16="http://schemas.microsoft.com/office/drawing/2014/main" id="{6D9B5886-930C-401A-850E-454A2F807F71}"/>
              </a:ext>
            </a:extLst>
          </p:cNvPr>
          <p:cNvGrpSpPr>
            <a:grpSpLocks/>
          </p:cNvGrpSpPr>
          <p:nvPr/>
        </p:nvGrpSpPr>
        <p:grpSpPr bwMode="auto">
          <a:xfrm>
            <a:off x="2532970" y="1087035"/>
            <a:ext cx="7117478" cy="4778417"/>
            <a:chOff x="1489" y="1070"/>
            <a:chExt cx="3261" cy="2590"/>
          </a:xfrm>
        </p:grpSpPr>
        <p:sp>
          <p:nvSpPr>
            <p:cNvPr id="4" name="Freeform 4">
              <a:extLst>
                <a:ext uri="{FF2B5EF4-FFF2-40B4-BE49-F238E27FC236}">
                  <a16:creationId xmlns:a16="http://schemas.microsoft.com/office/drawing/2014/main" id="{F196B0D8-9BB7-4B87-B2A7-261363584594}"/>
                </a:ext>
              </a:extLst>
            </p:cNvPr>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19050">
              <a:solidFill>
                <a:schemeClr val="tx1"/>
              </a:solidFill>
              <a:round/>
              <a:headEnd/>
              <a:tailEnd/>
            </a:ln>
          </p:spPr>
          <p:txBody>
            <a:bodyPr/>
            <a:lstStyle/>
            <a:p>
              <a:endParaRPr lang="en-US" dirty="0"/>
            </a:p>
          </p:txBody>
        </p:sp>
        <p:sp>
          <p:nvSpPr>
            <p:cNvPr id="5" name="Freeform 5">
              <a:extLst>
                <a:ext uri="{FF2B5EF4-FFF2-40B4-BE49-F238E27FC236}">
                  <a16:creationId xmlns:a16="http://schemas.microsoft.com/office/drawing/2014/main" id="{8620CEAF-00B7-4B4A-9323-094373C849AB}"/>
                </a:ext>
              </a:extLst>
            </p:cNvPr>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19050">
              <a:solidFill>
                <a:schemeClr val="tx1"/>
              </a:solidFill>
              <a:round/>
              <a:headEnd/>
              <a:tailEnd/>
            </a:ln>
          </p:spPr>
          <p:txBody>
            <a:bodyPr/>
            <a:lstStyle/>
            <a:p>
              <a:pPr>
                <a:defRPr/>
              </a:pPr>
              <a:endParaRPr lang="en-US" dirty="0"/>
            </a:p>
          </p:txBody>
        </p:sp>
        <p:sp>
          <p:nvSpPr>
            <p:cNvPr id="6" name="Freeform 6">
              <a:extLst>
                <a:ext uri="{FF2B5EF4-FFF2-40B4-BE49-F238E27FC236}">
                  <a16:creationId xmlns:a16="http://schemas.microsoft.com/office/drawing/2014/main" id="{9DE611C8-2DD6-4962-8975-3AEEF58F817C}"/>
                </a:ext>
              </a:extLst>
            </p:cNvPr>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19050">
              <a:solidFill>
                <a:schemeClr val="tx1"/>
              </a:solidFill>
              <a:round/>
              <a:headEnd/>
              <a:tailEnd/>
            </a:ln>
          </p:spPr>
          <p:txBody>
            <a:bodyPr/>
            <a:lstStyle/>
            <a:p>
              <a:pPr>
                <a:defRPr/>
              </a:pPr>
              <a:endParaRPr lang="en-US" dirty="0"/>
            </a:p>
          </p:txBody>
        </p:sp>
        <p:sp>
          <p:nvSpPr>
            <p:cNvPr id="7" name="Freeform 7">
              <a:extLst>
                <a:ext uri="{FF2B5EF4-FFF2-40B4-BE49-F238E27FC236}">
                  <a16:creationId xmlns:a16="http://schemas.microsoft.com/office/drawing/2014/main" id="{17ADC13D-379A-4CAC-87C0-3FBD6437150B}"/>
                </a:ext>
              </a:extLst>
            </p:cNvPr>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19050">
              <a:solidFill>
                <a:schemeClr val="tx1"/>
              </a:solidFill>
              <a:round/>
              <a:headEnd/>
              <a:tailEnd/>
            </a:ln>
          </p:spPr>
          <p:txBody>
            <a:bodyPr/>
            <a:lstStyle/>
            <a:p>
              <a:endParaRPr lang="en-US" dirty="0"/>
            </a:p>
          </p:txBody>
        </p:sp>
      </p:grpSp>
    </p:spTree>
    <p:extLst>
      <p:ext uri="{BB962C8B-B14F-4D97-AF65-F5344CB8AC3E}">
        <p14:creationId xmlns:p14="http://schemas.microsoft.com/office/powerpoint/2010/main" val="6715257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solidFill>
                  <a:schemeClr val="bg1"/>
                </a:solidFill>
              </a:rPr>
              <a:t>Data Understanding</a:t>
            </a:r>
          </a:p>
        </p:txBody>
      </p:sp>
      <p:pic>
        <p:nvPicPr>
          <p:cNvPr id="4" name="Picture 3">
            <a:extLst>
              <a:ext uri="{FF2B5EF4-FFF2-40B4-BE49-F238E27FC236}">
                <a16:creationId xmlns:a16="http://schemas.microsoft.com/office/drawing/2014/main" id="{930B9282-0C0A-4496-9FD0-7F4CCB9B46AB}"/>
              </a:ext>
            </a:extLst>
          </p:cNvPr>
          <p:cNvPicPr>
            <a:picLocks noChangeAspect="1"/>
          </p:cNvPicPr>
          <p:nvPr/>
        </p:nvPicPr>
        <p:blipFill>
          <a:blip r:embed="rId2"/>
          <a:stretch>
            <a:fillRect/>
          </a:stretch>
        </p:blipFill>
        <p:spPr>
          <a:xfrm>
            <a:off x="373224" y="6443753"/>
            <a:ext cx="10991101" cy="295275"/>
          </a:xfrm>
          <a:prstGeom prst="rect">
            <a:avLst/>
          </a:prstGeom>
        </p:spPr>
      </p:pic>
      <p:graphicFrame>
        <p:nvGraphicFramePr>
          <p:cNvPr id="25" name="Content Placeholder 6">
            <a:extLst>
              <a:ext uri="{FF2B5EF4-FFF2-40B4-BE49-F238E27FC236}">
                <a16:creationId xmlns:a16="http://schemas.microsoft.com/office/drawing/2014/main" id="{DC664B3E-D516-44B7-85D7-4D7684AB71AF}"/>
              </a:ext>
            </a:extLst>
          </p:cNvPr>
          <p:cNvGraphicFramePr>
            <a:graphicFrameLocks/>
          </p:cNvGraphicFramePr>
          <p:nvPr>
            <p:extLst>
              <p:ext uri="{D42A27DB-BD31-4B8C-83A1-F6EECF244321}">
                <p14:modId xmlns:p14="http://schemas.microsoft.com/office/powerpoint/2010/main" val="1399068991"/>
              </p:ext>
            </p:extLst>
          </p:nvPr>
        </p:nvGraphicFramePr>
        <p:xfrm>
          <a:off x="1118109" y="1615561"/>
          <a:ext cx="9501329" cy="1485900"/>
        </p:xfrm>
        <a:graphic>
          <a:graphicData uri="http://schemas.openxmlformats.org/drawingml/2006/table">
            <a:tbl>
              <a:tblPr firstRow="1" bandRow="1">
                <a:tableStyleId>{5C22544A-7EE6-4342-B048-85BDC9FD1C3A}</a:tableStyleId>
              </a:tblPr>
              <a:tblGrid>
                <a:gridCol w="9501329">
                  <a:extLst>
                    <a:ext uri="{9D8B030D-6E8A-4147-A177-3AD203B41FA5}">
                      <a16:colId xmlns:a16="http://schemas.microsoft.com/office/drawing/2014/main" val="20000"/>
                    </a:ext>
                  </a:extLst>
                </a:gridCol>
              </a:tblGrid>
              <a:tr h="14859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6BC25"/>
                          </a:solidFill>
                          <a:effectLst/>
                          <a:uLnTx/>
                          <a:uFillTx/>
                          <a:latin typeface="Calibri"/>
                          <a:ea typeface="+mn-ea"/>
                          <a:cs typeface="+mn-cs"/>
                        </a:rPr>
                        <a:t>Data Source</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Data was downloaded from Kaggle, an online platform for data scientists</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Kaggle sourced the dataset originally from Engineering Application of Artificial Intelligence, an academic journal </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Dataset was constructed in May 2020 </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The data used for this project is from the latest dataset publication in July 2021</a:t>
                      </a:r>
                    </a:p>
                  </a:txBody>
                  <a:tcPr marL="68633" marR="68633" marT="34290" marB="3429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7" name="Content Placeholder 6">
            <a:extLst>
              <a:ext uri="{FF2B5EF4-FFF2-40B4-BE49-F238E27FC236}">
                <a16:creationId xmlns:a16="http://schemas.microsoft.com/office/drawing/2014/main" id="{5CE9E9F4-8136-4708-B5E2-A059B5833CBF}"/>
              </a:ext>
            </a:extLst>
          </p:cNvPr>
          <p:cNvGraphicFramePr>
            <a:graphicFrameLocks/>
          </p:cNvGraphicFramePr>
          <p:nvPr>
            <p:extLst>
              <p:ext uri="{D42A27DB-BD31-4B8C-83A1-F6EECF244321}">
                <p14:modId xmlns:p14="http://schemas.microsoft.com/office/powerpoint/2010/main" val="3763461474"/>
              </p:ext>
            </p:extLst>
          </p:nvPr>
        </p:nvGraphicFramePr>
        <p:xfrm>
          <a:off x="1155053" y="3763116"/>
          <a:ext cx="9427439" cy="1729740"/>
        </p:xfrm>
        <a:graphic>
          <a:graphicData uri="http://schemas.openxmlformats.org/drawingml/2006/table">
            <a:tbl>
              <a:tblPr firstRow="1" bandRow="1">
                <a:tableStyleId>{5C22544A-7EE6-4342-B048-85BDC9FD1C3A}</a:tableStyleId>
              </a:tblPr>
              <a:tblGrid>
                <a:gridCol w="9427439">
                  <a:extLst>
                    <a:ext uri="{9D8B030D-6E8A-4147-A177-3AD203B41FA5}">
                      <a16:colId xmlns:a16="http://schemas.microsoft.com/office/drawing/2014/main" val="20000"/>
                    </a:ext>
                  </a:extLst>
                </a:gridCol>
              </a:tblGrid>
              <a:tr h="1485900">
                <a:tc>
                  <a:txBody>
                    <a:bodyPr/>
                    <a:lstStyle/>
                    <a:p>
                      <a:r>
                        <a:rPr lang="en-US" sz="1200" b="1" dirty="0">
                          <a:solidFill>
                            <a:srgbClr val="86BC25"/>
                          </a:solidFill>
                          <a:latin typeface="+mj-lt"/>
                        </a:rPr>
                        <a:t>Data Description</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Contains data of 11430 URLs from both phishing and legitimate websites </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Data came with 87 columns extracted from the websites page content, structure and URL syntax</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The dataset is balanced, i.e., it contains 50% phishing and 50% legitimate URLs</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Some of the features in the dataset include domain age, WHOIS registered domain, page rank, ratio internal /external redirection, page rank (from open PageRank)  among others</a:t>
                      </a:r>
                    </a:p>
                    <a:p>
                      <a:pPr marL="254000" marR="0" lvl="2" indent="-1143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a:txBody>
                  <a:tcPr marL="68633" marR="68633" marT="34290" marB="3429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itle 2">
            <a:extLst>
              <a:ext uri="{FF2B5EF4-FFF2-40B4-BE49-F238E27FC236}">
                <a16:creationId xmlns:a16="http://schemas.microsoft.com/office/drawing/2014/main" id="{A8029A4D-EE64-4A3D-BFD6-DCB28F816534}"/>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More details on data source</a:t>
            </a:r>
          </a:p>
        </p:txBody>
      </p:sp>
    </p:spTree>
    <p:extLst>
      <p:ext uri="{BB962C8B-B14F-4D97-AF65-F5344CB8AC3E}">
        <p14:creationId xmlns:p14="http://schemas.microsoft.com/office/powerpoint/2010/main" val="132663171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bg1"/>
                </a:solidFill>
              </a:rPr>
              <a:t>Features Selected</a:t>
            </a:r>
            <a:endParaRPr lang="en-US" b="1" dirty="0"/>
          </a:p>
        </p:txBody>
      </p:sp>
      <p:pic>
        <p:nvPicPr>
          <p:cNvPr id="18" name="Picture 17">
            <a:extLst>
              <a:ext uri="{FF2B5EF4-FFF2-40B4-BE49-F238E27FC236}">
                <a16:creationId xmlns:a16="http://schemas.microsoft.com/office/drawing/2014/main" id="{467DCF38-BF0C-46EA-859C-FAA9378D473C}"/>
              </a:ext>
            </a:extLst>
          </p:cNvPr>
          <p:cNvPicPr>
            <a:picLocks noChangeAspect="1"/>
          </p:cNvPicPr>
          <p:nvPr/>
        </p:nvPicPr>
        <p:blipFill>
          <a:blip r:embed="rId3"/>
          <a:stretch>
            <a:fillRect/>
          </a:stretch>
        </p:blipFill>
        <p:spPr>
          <a:xfrm>
            <a:off x="261257" y="6381754"/>
            <a:ext cx="10991101" cy="295275"/>
          </a:xfrm>
          <a:prstGeom prst="rect">
            <a:avLst/>
          </a:prstGeom>
        </p:spPr>
      </p:pic>
      <p:sp>
        <p:nvSpPr>
          <p:cNvPr id="20" name="TextBox 19">
            <a:extLst>
              <a:ext uri="{FF2B5EF4-FFF2-40B4-BE49-F238E27FC236}">
                <a16:creationId xmlns:a16="http://schemas.microsoft.com/office/drawing/2014/main" id="{9496BD72-763C-499E-931B-62992A627EC1}"/>
              </a:ext>
            </a:extLst>
          </p:cNvPr>
          <p:cNvSpPr txBox="1"/>
          <p:nvPr/>
        </p:nvSpPr>
        <p:spPr>
          <a:xfrm>
            <a:off x="501649" y="1420908"/>
            <a:ext cx="10389508" cy="4278094"/>
          </a:xfrm>
          <a:prstGeom prst="rect">
            <a:avLst/>
          </a:prstGeom>
          <a:noFill/>
        </p:spPr>
        <p:txBody>
          <a:bodyPr wrap="square">
            <a:spAutoFit/>
          </a:bodyPr>
          <a:lstStyle/>
          <a:p>
            <a:pPr lvl="2"/>
            <a:r>
              <a:rPr lang="en-GB" sz="1600" dirty="0">
                <a:solidFill>
                  <a:schemeClr val="bg1"/>
                </a:solidFill>
              </a:rPr>
              <a:t>Final features include;</a:t>
            </a:r>
          </a:p>
          <a:p>
            <a:pPr lvl="2"/>
            <a:endParaRPr lang="en-GB" sz="1600" dirty="0">
              <a:solidFill>
                <a:schemeClr val="bg1"/>
              </a:solidFill>
            </a:endParaRPr>
          </a:p>
          <a:p>
            <a:pPr marL="1543050" lvl="3" indent="-171450">
              <a:buFont typeface="Arial" panose="020B0604020202020204" pitchFamily="34" charset="0"/>
              <a:buChar char="•"/>
            </a:pPr>
            <a:r>
              <a:rPr lang="en-US" sz="1600" dirty="0">
                <a:solidFill>
                  <a:schemeClr val="bg1"/>
                </a:solidFill>
              </a:rPr>
              <a:t>Page_rank: How search engines ranks a particular website when browsed on the internet</a:t>
            </a:r>
          </a:p>
          <a:p>
            <a:pPr marL="1543050" lvl="3" indent="-171450">
              <a:buFont typeface="Arial" panose="020B0604020202020204" pitchFamily="34" charset="0"/>
              <a:buChar char="•"/>
            </a:pPr>
            <a:r>
              <a:rPr lang="en-US" sz="1600" dirty="0">
                <a:solidFill>
                  <a:schemeClr val="bg1"/>
                </a:solidFill>
              </a:rPr>
              <a:t>Nb_www: Number of "www" in the URL or URL is missing "www"</a:t>
            </a:r>
          </a:p>
          <a:p>
            <a:pPr marL="1543050" lvl="3" indent="-171450">
              <a:buFont typeface="Arial" panose="020B0604020202020204" pitchFamily="34" charset="0"/>
              <a:buChar char="•"/>
            </a:pPr>
            <a:r>
              <a:rPr lang="en-US" sz="1600" dirty="0">
                <a:solidFill>
                  <a:schemeClr val="bg1"/>
                </a:solidFill>
              </a:rPr>
              <a:t>Nb_hyphens: Number of hyphens in the URL</a:t>
            </a:r>
          </a:p>
          <a:p>
            <a:pPr marL="1543050" lvl="3" indent="-171450">
              <a:buFont typeface="Arial" panose="020B0604020202020204" pitchFamily="34" charset="0"/>
              <a:buChar char="•"/>
            </a:pPr>
            <a:r>
              <a:rPr lang="en-US" sz="1600" dirty="0">
                <a:solidFill>
                  <a:schemeClr val="bg1"/>
                </a:solidFill>
              </a:rPr>
              <a:t>Ratio_extMedia: ratio of external media file links</a:t>
            </a:r>
          </a:p>
          <a:p>
            <a:pPr marL="1543050" lvl="3" indent="-171450">
              <a:buFont typeface="Arial" panose="020B0604020202020204" pitchFamily="34" charset="0"/>
              <a:buChar char="•"/>
            </a:pPr>
            <a:r>
              <a:rPr lang="en-US" sz="1600" dirty="0">
                <a:solidFill>
                  <a:schemeClr val="bg1"/>
                </a:solidFill>
              </a:rPr>
              <a:t>Ratio_ExtRedirection: Ratio of external redirection</a:t>
            </a:r>
          </a:p>
          <a:p>
            <a:pPr marL="1543050" lvl="3" indent="-171450">
              <a:buFont typeface="Arial" panose="020B0604020202020204" pitchFamily="34" charset="0"/>
              <a:buChar char="•"/>
            </a:pPr>
            <a:r>
              <a:rPr lang="en-US" sz="1600" dirty="0">
                <a:solidFill>
                  <a:schemeClr val="bg1"/>
                </a:solidFill>
              </a:rPr>
              <a:t>Ratio_intMedia: Ratio of internal media file links</a:t>
            </a:r>
          </a:p>
          <a:p>
            <a:pPr marL="1543050" lvl="3" indent="-171450">
              <a:buFont typeface="Arial" panose="020B0604020202020204" pitchFamily="34" charset="0"/>
              <a:buChar char="•"/>
            </a:pPr>
            <a:r>
              <a:rPr lang="en-US" sz="1600" dirty="0">
                <a:solidFill>
                  <a:schemeClr val="bg1"/>
                </a:solidFill>
              </a:rPr>
              <a:t>Safe_anchor: Presence of ‘#’, ‘JavaScript’, or ‘mail to’ tags</a:t>
            </a:r>
          </a:p>
          <a:p>
            <a:pPr marL="1543050" lvl="3" indent="-171450">
              <a:buFont typeface="Arial" panose="020B0604020202020204" pitchFamily="34" charset="0"/>
              <a:buChar char="•"/>
            </a:pPr>
            <a:r>
              <a:rPr lang="en-US" sz="1600" dirty="0">
                <a:solidFill>
                  <a:schemeClr val="bg1"/>
                </a:solidFill>
              </a:rPr>
              <a:t>Nb_redirection: Number of redirections before loading the website</a:t>
            </a:r>
          </a:p>
          <a:p>
            <a:pPr marL="1543050" lvl="3" indent="-171450">
              <a:buFont typeface="Arial" panose="020B0604020202020204" pitchFamily="34" charset="0"/>
              <a:buChar char="•"/>
            </a:pPr>
            <a:r>
              <a:rPr lang="en-US" sz="1600" dirty="0">
                <a:solidFill>
                  <a:schemeClr val="bg1"/>
                </a:solidFill>
              </a:rPr>
              <a:t>Whois_registered_domain: Whether domain matches WHOIS database</a:t>
            </a:r>
          </a:p>
          <a:p>
            <a:pPr marL="1543050" lvl="3" indent="-171450">
              <a:buFont typeface="Arial" panose="020B0604020202020204" pitchFamily="34" charset="0"/>
              <a:buChar char="•"/>
            </a:pPr>
            <a:r>
              <a:rPr lang="en-US" sz="1600" dirty="0">
                <a:solidFill>
                  <a:schemeClr val="bg1"/>
                </a:solidFill>
              </a:rPr>
              <a:t>Https_token: The use of https in URL</a:t>
            </a:r>
          </a:p>
          <a:p>
            <a:pPr marL="1543050" lvl="3" indent="-171450">
              <a:buFont typeface="Arial" panose="020B0604020202020204" pitchFamily="34" charset="0"/>
              <a:buChar char="•"/>
            </a:pPr>
            <a:r>
              <a:rPr lang="en-US" sz="1600" dirty="0">
                <a:solidFill>
                  <a:schemeClr val="bg1"/>
                </a:solidFill>
              </a:rPr>
              <a:t>Domain_with_copyright: Presence or absence of copyright logo </a:t>
            </a:r>
          </a:p>
          <a:p>
            <a:pPr marL="1543050" lvl="3" indent="-171450">
              <a:buFont typeface="Arial" panose="020B0604020202020204" pitchFamily="34" charset="0"/>
              <a:buChar char="•"/>
            </a:pPr>
            <a:r>
              <a:rPr lang="en-US" sz="1600" dirty="0">
                <a:solidFill>
                  <a:schemeClr val="bg1"/>
                </a:solidFill>
              </a:rPr>
              <a:t>External-favicon: Short for favorite icon, websites with external favicon are trying to mimic legitimate ones</a:t>
            </a:r>
          </a:p>
          <a:p>
            <a:pPr marL="1543050" lvl="3" indent="-171450">
              <a:buFont typeface="Arial" panose="020B0604020202020204" pitchFamily="34" charset="0"/>
              <a:buChar char="•"/>
            </a:pPr>
            <a:r>
              <a:rPr lang="en-US" sz="1600" dirty="0">
                <a:solidFill>
                  <a:schemeClr val="bg1"/>
                </a:solidFill>
              </a:rPr>
              <a:t>Links_in_tags: Link tags that do not point to URL represents phishing</a:t>
            </a:r>
          </a:p>
          <a:p>
            <a:pPr lvl="3"/>
            <a:endParaRPr lang="en-US" sz="1600" dirty="0">
              <a:solidFill>
                <a:schemeClr val="bg1"/>
              </a:solidFill>
            </a:endParaRPr>
          </a:p>
        </p:txBody>
      </p:sp>
      <p:sp>
        <p:nvSpPr>
          <p:cNvPr id="9" name="Title 2">
            <a:extLst>
              <a:ext uri="{FF2B5EF4-FFF2-40B4-BE49-F238E27FC236}">
                <a16:creationId xmlns:a16="http://schemas.microsoft.com/office/drawing/2014/main" id="{26E5B06C-30B6-4735-85A4-2B742DA976A8}"/>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Features and their definition</a:t>
            </a:r>
          </a:p>
        </p:txBody>
      </p:sp>
    </p:spTree>
    <p:extLst>
      <p:ext uri="{BB962C8B-B14F-4D97-AF65-F5344CB8AC3E}">
        <p14:creationId xmlns:p14="http://schemas.microsoft.com/office/powerpoint/2010/main" val="327972283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501652" y="1253802"/>
            <a:ext cx="9939303" cy="1026746"/>
          </a:xfrm>
        </p:spPr>
        <p:txBody>
          <a:bodyPr/>
          <a:lstStyle/>
          <a:p>
            <a:pPr marL="123825" lvl="2" indent="0">
              <a:buNone/>
            </a:pPr>
            <a:r>
              <a:rPr lang="en-GB" sz="1600" dirty="0">
                <a:solidFill>
                  <a:schemeClr val="bg1"/>
                </a:solidFill>
                <a:hlinkClick r:id="rId3"/>
              </a:rPr>
              <a:t>Dataset  Journal </a:t>
            </a:r>
            <a:endParaRPr lang="en-GB" sz="1600" dirty="0">
              <a:solidFill>
                <a:schemeClr val="bg1"/>
              </a:solidFill>
            </a:endParaRPr>
          </a:p>
          <a:p>
            <a:pPr marL="123825" lvl="2" indent="0">
              <a:buNone/>
            </a:pPr>
            <a:r>
              <a:rPr lang="en-GB" sz="1600" dirty="0">
                <a:solidFill>
                  <a:schemeClr val="bg1"/>
                </a:solidFill>
                <a:hlinkClick r:id="rId4"/>
              </a:rPr>
              <a:t>Data Source Kaggle</a:t>
            </a:r>
            <a:endParaRPr lang="en-GB" sz="1600" dirty="0">
              <a:solidFill>
                <a:schemeClr val="bg1"/>
              </a:solidFill>
            </a:endParaRPr>
          </a:p>
          <a:p>
            <a:pPr marL="123825" lvl="2" indent="0">
              <a:buNone/>
            </a:pPr>
            <a:r>
              <a:rPr lang="en-GB" sz="1600" dirty="0">
                <a:solidFill>
                  <a:schemeClr val="bg1"/>
                </a:solidFill>
                <a:hlinkClick r:id="rId5"/>
              </a:rPr>
              <a:t>Lasso Regularization </a:t>
            </a:r>
            <a:endParaRPr lang="en-GB" sz="1600" dirty="0">
              <a:solidFill>
                <a:schemeClr val="bg1"/>
              </a:solidFill>
            </a:endParaRPr>
          </a:p>
          <a:p>
            <a:pPr marL="123825" lvl="2" indent="0">
              <a:buNone/>
            </a:pPr>
            <a:r>
              <a:rPr lang="en-GB" sz="1600" dirty="0">
                <a:solidFill>
                  <a:schemeClr val="bg1"/>
                </a:solidFill>
                <a:hlinkClick r:id="rId6"/>
              </a:rPr>
              <a:t>Evaluation Metrics</a:t>
            </a:r>
            <a:endParaRPr lang="en-GB" sz="1600" dirty="0">
              <a:solidFill>
                <a:schemeClr val="bg1"/>
              </a:solidFill>
            </a:endParaRPr>
          </a:p>
          <a:p>
            <a:pPr marL="123825" lvl="2" indent="0">
              <a:buNone/>
            </a:pPr>
            <a:r>
              <a:rPr lang="en-GB" sz="1600" dirty="0">
                <a:solidFill>
                  <a:schemeClr val="bg1"/>
                </a:solidFill>
                <a:hlinkClick r:id="rId7"/>
              </a:rPr>
              <a:t>Confusion Matrix</a:t>
            </a:r>
            <a:endParaRPr lang="en-GB" sz="1600" dirty="0">
              <a:solidFill>
                <a:schemeClr val="bg1"/>
              </a:solidFill>
            </a:endParaRPr>
          </a:p>
        </p:txBody>
      </p:sp>
      <p:sp>
        <p:nvSpPr>
          <p:cNvPr id="2" name="Title 1"/>
          <p:cNvSpPr>
            <a:spLocks noGrp="1"/>
          </p:cNvSpPr>
          <p:nvPr>
            <p:ph type="title"/>
          </p:nvPr>
        </p:nvSpPr>
        <p:spPr/>
        <p:txBody>
          <a:bodyPr/>
          <a:lstStyle/>
          <a:p>
            <a:r>
              <a:rPr lang="en-US" altLang="ja-JP" dirty="0">
                <a:solidFill>
                  <a:schemeClr val="bg1"/>
                </a:solidFill>
              </a:rPr>
              <a:t>Work Consulted and Additional Resources</a:t>
            </a:r>
            <a:endParaRPr lang="en-US" dirty="0"/>
          </a:p>
        </p:txBody>
      </p:sp>
      <p:pic>
        <p:nvPicPr>
          <p:cNvPr id="18" name="Picture 17">
            <a:extLst>
              <a:ext uri="{FF2B5EF4-FFF2-40B4-BE49-F238E27FC236}">
                <a16:creationId xmlns:a16="http://schemas.microsoft.com/office/drawing/2014/main" id="{467DCF38-BF0C-46EA-859C-FAA9378D473C}"/>
              </a:ext>
            </a:extLst>
          </p:cNvPr>
          <p:cNvPicPr>
            <a:picLocks noChangeAspect="1"/>
          </p:cNvPicPr>
          <p:nvPr/>
        </p:nvPicPr>
        <p:blipFill>
          <a:blip r:embed="rId8"/>
          <a:stretch>
            <a:fillRect/>
          </a:stretch>
        </p:blipFill>
        <p:spPr>
          <a:xfrm>
            <a:off x="261257" y="6381754"/>
            <a:ext cx="10991101" cy="295275"/>
          </a:xfrm>
          <a:prstGeom prst="rect">
            <a:avLst/>
          </a:prstGeom>
        </p:spPr>
      </p:pic>
    </p:spTree>
    <p:extLst>
      <p:ext uri="{BB962C8B-B14F-4D97-AF65-F5344CB8AC3E}">
        <p14:creationId xmlns:p14="http://schemas.microsoft.com/office/powerpoint/2010/main" val="7284716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solidFill>
                  <a:schemeClr val="bg1"/>
                </a:solidFill>
              </a:rPr>
              <a:t>Agenda</a:t>
            </a:r>
          </a:p>
        </p:txBody>
      </p:sp>
      <p:sp>
        <p:nvSpPr>
          <p:cNvPr id="15" name="TextBox 14">
            <a:extLst>
              <a:ext uri="{FF2B5EF4-FFF2-40B4-BE49-F238E27FC236}">
                <a16:creationId xmlns:a16="http://schemas.microsoft.com/office/drawing/2014/main" id="{9AE8FE30-A710-4B8E-892D-E1795771AD1B}"/>
              </a:ext>
            </a:extLst>
          </p:cNvPr>
          <p:cNvSpPr txBox="1"/>
          <p:nvPr/>
        </p:nvSpPr>
        <p:spPr>
          <a:xfrm>
            <a:off x="498256" y="1247509"/>
            <a:ext cx="447558" cy="646331"/>
          </a:xfrm>
          <a:prstGeom prst="rect">
            <a:avLst/>
          </a:prstGeom>
          <a:noFill/>
        </p:spPr>
        <p:txBody>
          <a:bodyPr wrap="none" rtlCol="0">
            <a:spAutoFit/>
          </a:bodyPr>
          <a:lstStyle/>
          <a:p>
            <a:r>
              <a:rPr lang="en-US" sz="36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1</a:t>
            </a:r>
          </a:p>
        </p:txBody>
      </p:sp>
      <p:sp>
        <p:nvSpPr>
          <p:cNvPr id="16" name="TextBox 15">
            <a:extLst>
              <a:ext uri="{FF2B5EF4-FFF2-40B4-BE49-F238E27FC236}">
                <a16:creationId xmlns:a16="http://schemas.microsoft.com/office/drawing/2014/main" id="{8211B787-3DCA-4973-9863-A246E509352D}"/>
              </a:ext>
            </a:extLst>
          </p:cNvPr>
          <p:cNvSpPr txBox="1"/>
          <p:nvPr/>
        </p:nvSpPr>
        <p:spPr>
          <a:xfrm>
            <a:off x="1293056" y="1318895"/>
            <a:ext cx="3181512" cy="523220"/>
          </a:xfrm>
          <a:prstGeom prst="rect">
            <a:avLst/>
          </a:prstGeom>
          <a:noFill/>
        </p:spPr>
        <p:txBody>
          <a:bodyPr wrap="none" rtlCol="0">
            <a:spAutoFit/>
          </a:bodyPr>
          <a:lstStyle/>
          <a:p>
            <a:r>
              <a:rPr lang="en-US" sz="2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oject Motivation</a:t>
            </a:r>
          </a:p>
        </p:txBody>
      </p:sp>
      <p:sp>
        <p:nvSpPr>
          <p:cNvPr id="17" name="TextBox 16">
            <a:extLst>
              <a:ext uri="{FF2B5EF4-FFF2-40B4-BE49-F238E27FC236}">
                <a16:creationId xmlns:a16="http://schemas.microsoft.com/office/drawing/2014/main" id="{3F6BD936-5D3A-4106-9B96-7200D6A00E8A}"/>
              </a:ext>
            </a:extLst>
          </p:cNvPr>
          <p:cNvSpPr txBox="1"/>
          <p:nvPr/>
        </p:nvSpPr>
        <p:spPr>
          <a:xfrm>
            <a:off x="482600" y="2081011"/>
            <a:ext cx="447558" cy="646331"/>
          </a:xfrm>
          <a:prstGeom prst="rect">
            <a:avLst/>
          </a:prstGeom>
          <a:noFill/>
        </p:spPr>
        <p:txBody>
          <a:bodyPr wrap="none" rtlCol="0">
            <a:spAutoFit/>
          </a:bodyPr>
          <a:lstStyle/>
          <a:p>
            <a:r>
              <a:rPr lang="en-US" sz="36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2</a:t>
            </a:r>
          </a:p>
        </p:txBody>
      </p:sp>
      <p:sp>
        <p:nvSpPr>
          <p:cNvPr id="18" name="TextBox 17">
            <a:extLst>
              <a:ext uri="{FF2B5EF4-FFF2-40B4-BE49-F238E27FC236}">
                <a16:creationId xmlns:a16="http://schemas.microsoft.com/office/drawing/2014/main" id="{72AD0809-94C2-4773-9872-69364F6A050E}"/>
              </a:ext>
            </a:extLst>
          </p:cNvPr>
          <p:cNvSpPr txBox="1"/>
          <p:nvPr/>
        </p:nvSpPr>
        <p:spPr>
          <a:xfrm>
            <a:off x="1293056" y="2202285"/>
            <a:ext cx="3435556" cy="523220"/>
          </a:xfrm>
          <a:prstGeom prst="rect">
            <a:avLst/>
          </a:prstGeom>
          <a:noFill/>
        </p:spPr>
        <p:txBody>
          <a:bodyPr wrap="none" rtlCol="0">
            <a:spAutoFit/>
          </a:bodyPr>
          <a:lstStyle/>
          <a:p>
            <a:r>
              <a:rPr lang="en-US" sz="2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Data Understanding</a:t>
            </a:r>
          </a:p>
        </p:txBody>
      </p:sp>
      <p:cxnSp>
        <p:nvCxnSpPr>
          <p:cNvPr id="19" name="Straight Connector 18">
            <a:extLst>
              <a:ext uri="{FF2B5EF4-FFF2-40B4-BE49-F238E27FC236}">
                <a16:creationId xmlns:a16="http://schemas.microsoft.com/office/drawing/2014/main" id="{3B2DE4D3-50EF-4FBC-9DAA-89D59F6C730A}"/>
              </a:ext>
            </a:extLst>
          </p:cNvPr>
          <p:cNvCxnSpPr/>
          <p:nvPr/>
        </p:nvCxnSpPr>
        <p:spPr>
          <a:xfrm>
            <a:off x="1159947" y="2099554"/>
            <a:ext cx="0" cy="646750"/>
          </a:xfrm>
          <a:prstGeom prst="line">
            <a:avLst/>
          </a:prstGeom>
          <a:ln w="63500">
            <a:solidFill>
              <a:srgbClr val="43B02A"/>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EE4FFD6-6084-4B25-8049-C93702C01CAB}"/>
              </a:ext>
            </a:extLst>
          </p:cNvPr>
          <p:cNvSpPr txBox="1"/>
          <p:nvPr/>
        </p:nvSpPr>
        <p:spPr>
          <a:xfrm>
            <a:off x="498256" y="2995213"/>
            <a:ext cx="447558" cy="646331"/>
          </a:xfrm>
          <a:prstGeom prst="rect">
            <a:avLst/>
          </a:prstGeom>
          <a:noFill/>
        </p:spPr>
        <p:txBody>
          <a:bodyPr wrap="none" rtlCol="0">
            <a:spAutoFit/>
          </a:bodyPr>
          <a:lstStyle/>
          <a:p>
            <a:r>
              <a:rPr lang="en-US" sz="36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3</a:t>
            </a:r>
          </a:p>
        </p:txBody>
      </p:sp>
      <p:sp>
        <p:nvSpPr>
          <p:cNvPr id="21" name="TextBox 20">
            <a:extLst>
              <a:ext uri="{FF2B5EF4-FFF2-40B4-BE49-F238E27FC236}">
                <a16:creationId xmlns:a16="http://schemas.microsoft.com/office/drawing/2014/main" id="{ED6E9891-BC2B-47CE-90AE-ED52FF987BB2}"/>
              </a:ext>
            </a:extLst>
          </p:cNvPr>
          <p:cNvSpPr txBox="1"/>
          <p:nvPr/>
        </p:nvSpPr>
        <p:spPr>
          <a:xfrm>
            <a:off x="1293056" y="3058882"/>
            <a:ext cx="3407536" cy="523220"/>
          </a:xfrm>
          <a:prstGeom prst="rect">
            <a:avLst/>
          </a:prstGeom>
          <a:noFill/>
        </p:spPr>
        <p:txBody>
          <a:bodyPr wrap="none" rtlCol="0">
            <a:spAutoFit/>
          </a:bodyPr>
          <a:lstStyle/>
          <a:p>
            <a:r>
              <a:rPr lang="en-US" sz="2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odelling Approach</a:t>
            </a:r>
          </a:p>
        </p:txBody>
      </p:sp>
      <p:cxnSp>
        <p:nvCxnSpPr>
          <p:cNvPr id="22" name="Straight Connector 21">
            <a:extLst>
              <a:ext uri="{FF2B5EF4-FFF2-40B4-BE49-F238E27FC236}">
                <a16:creationId xmlns:a16="http://schemas.microsoft.com/office/drawing/2014/main" id="{ADACC06C-DBFE-4DA9-B96F-CCD42ACC1D0B}"/>
              </a:ext>
            </a:extLst>
          </p:cNvPr>
          <p:cNvCxnSpPr/>
          <p:nvPr/>
        </p:nvCxnSpPr>
        <p:spPr>
          <a:xfrm>
            <a:off x="1162425" y="2994794"/>
            <a:ext cx="0" cy="646750"/>
          </a:xfrm>
          <a:prstGeom prst="line">
            <a:avLst/>
          </a:prstGeom>
          <a:ln w="63500">
            <a:solidFill>
              <a:srgbClr val="009A44"/>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CC275DD-B0DD-488B-ABD9-EAE7D12CB524}"/>
              </a:ext>
            </a:extLst>
          </p:cNvPr>
          <p:cNvSpPr txBox="1"/>
          <p:nvPr/>
        </p:nvSpPr>
        <p:spPr>
          <a:xfrm>
            <a:off x="482600" y="3873511"/>
            <a:ext cx="447558" cy="646331"/>
          </a:xfrm>
          <a:prstGeom prst="rect">
            <a:avLst/>
          </a:prstGeom>
          <a:noFill/>
        </p:spPr>
        <p:txBody>
          <a:bodyPr wrap="none" rtlCol="0">
            <a:spAutoFit/>
          </a:bodyPr>
          <a:lstStyle/>
          <a:p>
            <a:r>
              <a:rPr lang="en-US" sz="36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4</a:t>
            </a:r>
          </a:p>
        </p:txBody>
      </p:sp>
      <p:sp>
        <p:nvSpPr>
          <p:cNvPr id="24" name="TextBox 23">
            <a:extLst>
              <a:ext uri="{FF2B5EF4-FFF2-40B4-BE49-F238E27FC236}">
                <a16:creationId xmlns:a16="http://schemas.microsoft.com/office/drawing/2014/main" id="{2439BC95-D627-41F4-A9F3-EC3FE433B889}"/>
              </a:ext>
            </a:extLst>
          </p:cNvPr>
          <p:cNvSpPr txBox="1"/>
          <p:nvPr/>
        </p:nvSpPr>
        <p:spPr>
          <a:xfrm>
            <a:off x="1293056" y="3968014"/>
            <a:ext cx="6614311" cy="523220"/>
          </a:xfrm>
          <a:prstGeom prst="rect">
            <a:avLst/>
          </a:prstGeom>
          <a:noFill/>
        </p:spPr>
        <p:txBody>
          <a:bodyPr wrap="none" rtlCol="0">
            <a:spAutoFit/>
          </a:bodyPr>
          <a:lstStyle/>
          <a:p>
            <a:r>
              <a:rPr lang="en-US" sz="2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Model Evaluation and Recommendation</a:t>
            </a:r>
          </a:p>
        </p:txBody>
      </p:sp>
      <p:cxnSp>
        <p:nvCxnSpPr>
          <p:cNvPr id="25" name="Straight Connector 24">
            <a:extLst>
              <a:ext uri="{FF2B5EF4-FFF2-40B4-BE49-F238E27FC236}">
                <a16:creationId xmlns:a16="http://schemas.microsoft.com/office/drawing/2014/main" id="{53C44EB5-7BEA-4D40-BE83-E8E79609112A}"/>
              </a:ext>
            </a:extLst>
          </p:cNvPr>
          <p:cNvCxnSpPr/>
          <p:nvPr/>
        </p:nvCxnSpPr>
        <p:spPr>
          <a:xfrm>
            <a:off x="1159947" y="3873092"/>
            <a:ext cx="0" cy="646750"/>
          </a:xfrm>
          <a:prstGeom prst="line">
            <a:avLst/>
          </a:prstGeom>
          <a:ln w="63500">
            <a:solidFill>
              <a:srgbClr val="046A38"/>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82002DA9-78D3-467A-A11D-346FFB579C57}"/>
              </a:ext>
            </a:extLst>
          </p:cNvPr>
          <p:cNvSpPr txBox="1"/>
          <p:nvPr/>
        </p:nvSpPr>
        <p:spPr>
          <a:xfrm>
            <a:off x="482071" y="4787713"/>
            <a:ext cx="447558" cy="646331"/>
          </a:xfrm>
          <a:prstGeom prst="rect">
            <a:avLst/>
          </a:prstGeom>
          <a:noFill/>
        </p:spPr>
        <p:txBody>
          <a:bodyPr wrap="none" rtlCol="0">
            <a:spAutoFit/>
          </a:bodyPr>
          <a:lstStyle/>
          <a:p>
            <a:r>
              <a:rPr lang="en-US" sz="3600" b="1">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rPr>
              <a:t>5</a:t>
            </a:r>
          </a:p>
        </p:txBody>
      </p:sp>
      <p:cxnSp>
        <p:nvCxnSpPr>
          <p:cNvPr id="27" name="Straight Connector 26">
            <a:extLst>
              <a:ext uri="{FF2B5EF4-FFF2-40B4-BE49-F238E27FC236}">
                <a16:creationId xmlns:a16="http://schemas.microsoft.com/office/drawing/2014/main" id="{94D4C1DB-6EF7-4319-8B1E-D4BA350D33D9}"/>
              </a:ext>
            </a:extLst>
          </p:cNvPr>
          <p:cNvCxnSpPr/>
          <p:nvPr/>
        </p:nvCxnSpPr>
        <p:spPr>
          <a:xfrm>
            <a:off x="1159947" y="4787294"/>
            <a:ext cx="0" cy="646750"/>
          </a:xfrm>
          <a:prstGeom prst="line">
            <a:avLst/>
          </a:prstGeom>
          <a:ln w="63500">
            <a:solidFill>
              <a:srgbClr val="00B050"/>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2C2A10B-FE82-474E-AC96-9F080DB5DEEC}"/>
              </a:ext>
            </a:extLst>
          </p:cNvPr>
          <p:cNvSpPr txBox="1"/>
          <p:nvPr/>
        </p:nvSpPr>
        <p:spPr>
          <a:xfrm>
            <a:off x="1293056" y="4825662"/>
            <a:ext cx="5917902" cy="523220"/>
          </a:xfrm>
          <a:prstGeom prst="rect">
            <a:avLst/>
          </a:prstGeom>
          <a:noFill/>
        </p:spPr>
        <p:txBody>
          <a:bodyPr wrap="none" rtlCol="0">
            <a:spAutoFit/>
          </a:bodyPr>
          <a:lstStyle/>
          <a:p>
            <a:r>
              <a:rPr lang="en-US" sz="28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Proposed Improvements/Expansion</a:t>
            </a:r>
          </a:p>
        </p:txBody>
      </p:sp>
      <p:cxnSp>
        <p:nvCxnSpPr>
          <p:cNvPr id="29" name="Straight Connector 28">
            <a:extLst>
              <a:ext uri="{FF2B5EF4-FFF2-40B4-BE49-F238E27FC236}">
                <a16:creationId xmlns:a16="http://schemas.microsoft.com/office/drawing/2014/main" id="{E74F6DE2-1C1D-434D-8561-A2A5B0DA68EA}"/>
              </a:ext>
            </a:extLst>
          </p:cNvPr>
          <p:cNvCxnSpPr/>
          <p:nvPr/>
        </p:nvCxnSpPr>
        <p:spPr>
          <a:xfrm>
            <a:off x="1159947" y="1220105"/>
            <a:ext cx="0" cy="646750"/>
          </a:xfrm>
          <a:prstGeom prst="line">
            <a:avLst/>
          </a:prstGeom>
          <a:ln w="63500">
            <a:solidFill>
              <a:srgbClr val="86BC25"/>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53485A62-C555-4281-A626-6BCD8DBAD029}"/>
              </a:ext>
            </a:extLst>
          </p:cNvPr>
          <p:cNvPicPr>
            <a:picLocks noChangeAspect="1"/>
          </p:cNvPicPr>
          <p:nvPr/>
        </p:nvPicPr>
        <p:blipFill>
          <a:blip r:embed="rId2"/>
          <a:stretch>
            <a:fillRect/>
          </a:stretch>
        </p:blipFill>
        <p:spPr>
          <a:xfrm>
            <a:off x="373224" y="6443753"/>
            <a:ext cx="10991101" cy="295275"/>
          </a:xfrm>
          <a:prstGeom prst="rect">
            <a:avLst/>
          </a:prstGeom>
        </p:spPr>
      </p:pic>
    </p:spTree>
    <p:extLst>
      <p:ext uri="{BB962C8B-B14F-4D97-AF65-F5344CB8AC3E}">
        <p14:creationId xmlns:p14="http://schemas.microsoft.com/office/powerpoint/2010/main" val="38803339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solidFill>
                  <a:schemeClr val="bg1"/>
                </a:solidFill>
              </a:rPr>
              <a:t>Project Motivation</a:t>
            </a:r>
          </a:p>
        </p:txBody>
      </p:sp>
      <p:pic>
        <p:nvPicPr>
          <p:cNvPr id="4" name="Picture 3">
            <a:extLst>
              <a:ext uri="{FF2B5EF4-FFF2-40B4-BE49-F238E27FC236}">
                <a16:creationId xmlns:a16="http://schemas.microsoft.com/office/drawing/2014/main" id="{930B9282-0C0A-4496-9FD0-7F4CCB9B46AB}"/>
              </a:ext>
            </a:extLst>
          </p:cNvPr>
          <p:cNvPicPr>
            <a:picLocks noChangeAspect="1"/>
          </p:cNvPicPr>
          <p:nvPr/>
        </p:nvPicPr>
        <p:blipFill>
          <a:blip r:embed="rId2"/>
          <a:stretch>
            <a:fillRect/>
          </a:stretch>
        </p:blipFill>
        <p:spPr>
          <a:xfrm>
            <a:off x="373224" y="6443753"/>
            <a:ext cx="10991101" cy="295275"/>
          </a:xfrm>
          <a:prstGeom prst="rect">
            <a:avLst/>
          </a:prstGeom>
        </p:spPr>
      </p:pic>
      <p:sp>
        <p:nvSpPr>
          <p:cNvPr id="30" name="Rectangle 2">
            <a:extLst>
              <a:ext uri="{FF2B5EF4-FFF2-40B4-BE49-F238E27FC236}">
                <a16:creationId xmlns:a16="http://schemas.microsoft.com/office/drawing/2014/main" id="{89A24584-3B7D-4C7C-9394-196F14FC3F7A}"/>
              </a:ext>
            </a:extLst>
          </p:cNvPr>
          <p:cNvSpPr/>
          <p:nvPr/>
        </p:nvSpPr>
        <p:spPr>
          <a:xfrm>
            <a:off x="1511300" y="1532985"/>
            <a:ext cx="9105899" cy="2675467"/>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rgbClr val="43B02A"/>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1" name="Rectangle 2">
            <a:extLst>
              <a:ext uri="{FF2B5EF4-FFF2-40B4-BE49-F238E27FC236}">
                <a16:creationId xmlns:a16="http://schemas.microsoft.com/office/drawing/2014/main" id="{04B2F302-8369-4A6D-B0C0-DD3D9FCE2C64}"/>
              </a:ext>
            </a:extLst>
          </p:cNvPr>
          <p:cNvSpPr/>
          <p:nvPr/>
        </p:nvSpPr>
        <p:spPr>
          <a:xfrm rot="10800000">
            <a:off x="1540931" y="3090848"/>
            <a:ext cx="9105900" cy="2400657"/>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rgbClr val="43B02A"/>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3" name="TextBox 32">
            <a:extLst>
              <a:ext uri="{FF2B5EF4-FFF2-40B4-BE49-F238E27FC236}">
                <a16:creationId xmlns:a16="http://schemas.microsoft.com/office/drawing/2014/main" id="{33D0F238-D4FD-4C3D-B2BC-06AD71530717}"/>
              </a:ext>
            </a:extLst>
          </p:cNvPr>
          <p:cNvSpPr txBox="1"/>
          <p:nvPr/>
        </p:nvSpPr>
        <p:spPr>
          <a:xfrm>
            <a:off x="982134" y="153298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046A38"/>
                </a:solidFill>
                <a:effectLst/>
                <a:uLnTx/>
                <a:uFillTx/>
                <a:latin typeface="Arial"/>
                <a:ea typeface="+mn-ea"/>
                <a:cs typeface="Arial"/>
              </a:rPr>
              <a:t>“</a:t>
            </a:r>
          </a:p>
        </p:txBody>
      </p:sp>
      <p:sp>
        <p:nvSpPr>
          <p:cNvPr id="34" name="TextBox 33">
            <a:extLst>
              <a:ext uri="{FF2B5EF4-FFF2-40B4-BE49-F238E27FC236}">
                <a16:creationId xmlns:a16="http://schemas.microsoft.com/office/drawing/2014/main" id="{9D96D337-0722-49E5-81EE-860C1236EE7C}"/>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dirty="0">
                <a:ln>
                  <a:noFill/>
                </a:ln>
                <a:solidFill>
                  <a:srgbClr val="046A38"/>
                </a:solidFill>
                <a:effectLst/>
                <a:uLnTx/>
                <a:uFillTx/>
                <a:latin typeface="Arial"/>
                <a:ea typeface="+mn-ea"/>
                <a:cs typeface="Arial"/>
              </a:rPr>
              <a:t>”</a:t>
            </a:r>
          </a:p>
        </p:txBody>
      </p:sp>
      <p:sp>
        <p:nvSpPr>
          <p:cNvPr id="35" name="TextBox 34">
            <a:extLst>
              <a:ext uri="{FF2B5EF4-FFF2-40B4-BE49-F238E27FC236}">
                <a16:creationId xmlns:a16="http://schemas.microsoft.com/office/drawing/2014/main" id="{A50CCC2D-44EB-488A-971E-A9D951AEC6B2}"/>
              </a:ext>
            </a:extLst>
          </p:cNvPr>
          <p:cNvSpPr txBox="1"/>
          <p:nvPr/>
        </p:nvSpPr>
        <p:spPr>
          <a:xfrm>
            <a:off x="1907756" y="2136338"/>
            <a:ext cx="8312986" cy="2585323"/>
          </a:xfrm>
          <a:prstGeom prst="rect">
            <a:avLst/>
          </a:prstGeom>
          <a:noFill/>
        </p:spPr>
        <p:txBody>
          <a:bodyPr wrap="square">
            <a:spAutoFit/>
          </a:bodyPr>
          <a:lstStyle/>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i="0" u="none" strike="noStrike" cap="none" normalizeH="0" baseline="0" dirty="0">
                <a:ln>
                  <a:noFill/>
                </a:ln>
                <a:solidFill>
                  <a:schemeClr val="bg1"/>
                </a:solidFill>
                <a:effectLst/>
                <a:latin typeface="Open Sans Light" panose="020B0306030504020204" pitchFamily="34" charset="0"/>
                <a:ea typeface="Open Sans Light" panose="020B0306030504020204" pitchFamily="34" charset="0"/>
                <a:cs typeface="Open Sans Light" panose="020B0306030504020204" pitchFamily="34" charset="0"/>
              </a:rPr>
              <a:t>Online shoppers </a:t>
            </a:r>
            <a:r>
              <a:rPr kumimoji="0" lang="en-US" altLang="en-US" b="1" i="0" u="none" strike="noStrike" cap="none" normalizeH="0" baseline="0" dirty="0">
                <a:ln>
                  <a:noFill/>
                </a:ln>
                <a:solidFill>
                  <a:srgbClr val="92D050"/>
                </a:solidFill>
                <a:effectLst/>
                <a:latin typeface="Open Sans Light" panose="020B0306030504020204" pitchFamily="34" charset="0"/>
                <a:ea typeface="Open Sans Light" panose="020B0306030504020204" pitchFamily="34" charset="0"/>
                <a:cs typeface="Open Sans Light" panose="020B0306030504020204" pitchFamily="34" charset="0"/>
              </a:rPr>
              <a:t>lose money, time, and </a:t>
            </a:r>
            <a:r>
              <a:rPr lang="en-US" altLang="en-US" b="1" dirty="0">
                <a:solidFill>
                  <a:srgbClr val="92D050"/>
                </a:solidFill>
                <a:latin typeface="Open Sans Light" panose="020B0306030504020204" pitchFamily="34" charset="0"/>
                <a:ea typeface="Open Sans Light" panose="020B0306030504020204" pitchFamily="34" charset="0"/>
                <a:cs typeface="Open Sans Light" panose="020B0306030504020204" pitchFamily="34" charset="0"/>
              </a:rPr>
              <a:t>personal identifiable information to malicious websites</a:t>
            </a:r>
            <a:r>
              <a:rPr lang="en-US" altLang="en-US"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altLang="en-US"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because they are often </a:t>
            </a:r>
            <a:r>
              <a:rPr lang="en-US" altLang="en-US" b="1" dirty="0">
                <a:solidFill>
                  <a:srgbClr val="92D050"/>
                </a:solidFill>
                <a:latin typeface="Open Sans Light" panose="020B0306030504020204" pitchFamily="34" charset="0"/>
                <a:ea typeface="Open Sans Light" panose="020B0306030504020204" pitchFamily="34" charset="0"/>
                <a:cs typeface="Open Sans Light" panose="020B0306030504020204" pitchFamily="34" charset="0"/>
              </a:rPr>
              <a:t>unable to differentiate between a legitimate website and a phishing site.</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US"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his project builds a model that </a:t>
            </a:r>
            <a:r>
              <a:rPr lang="en-US" altLang="en-US" b="1" dirty="0">
                <a:solidFill>
                  <a:srgbClr val="92D050"/>
                </a:solidFill>
                <a:latin typeface="Open Sans Light" panose="020B0306030504020204" pitchFamily="34" charset="0"/>
                <a:ea typeface="Open Sans Light" panose="020B0306030504020204" pitchFamily="34" charset="0"/>
                <a:cs typeface="Open Sans Light" panose="020B0306030504020204" pitchFamily="34" charset="0"/>
              </a:rPr>
              <a:t>classifies websites as legitimate or as phishing websites. </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US"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he final machine learning model can differentiate between a legitimate website from its phishing counterpart about 90% of the time. </a:t>
            </a:r>
          </a:p>
        </p:txBody>
      </p:sp>
      <p:sp>
        <p:nvSpPr>
          <p:cNvPr id="9" name="Title 2">
            <a:extLst>
              <a:ext uri="{FF2B5EF4-FFF2-40B4-BE49-F238E27FC236}">
                <a16:creationId xmlns:a16="http://schemas.microsoft.com/office/drawing/2014/main" id="{32914E22-0F1D-4253-A09B-B2E8DCBAE5B8}"/>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Business problem and project goal</a:t>
            </a:r>
          </a:p>
        </p:txBody>
      </p:sp>
    </p:spTree>
    <p:extLst>
      <p:ext uri="{BB962C8B-B14F-4D97-AF65-F5344CB8AC3E}">
        <p14:creationId xmlns:p14="http://schemas.microsoft.com/office/powerpoint/2010/main" val="6484986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nvPr>
        </p:nvSpPr>
        <p:spPr/>
        <p:txBody>
          <a:bodyPr/>
          <a:lstStyle/>
          <a:p>
            <a:r>
              <a:rPr lang="en-US" b="1" dirty="0"/>
              <a:t>Modelling Approach</a:t>
            </a:r>
          </a:p>
        </p:txBody>
      </p:sp>
      <p:sp>
        <p:nvSpPr>
          <p:cNvPr id="24" name="Text Box 10"/>
          <p:cNvSpPr txBox="1">
            <a:spLocks noChangeArrowheads="1"/>
          </p:cNvSpPr>
          <p:nvPr/>
        </p:nvSpPr>
        <p:spPr bwMode="auto">
          <a:xfrm>
            <a:off x="1900871" y="2066089"/>
            <a:ext cx="1915312"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ctr" anchorCtr="0"/>
          <a:lstStyle/>
          <a:p>
            <a:pPr defTabSz="717947">
              <a:spcBef>
                <a:spcPts val="150"/>
              </a:spcBef>
            </a:pPr>
            <a:r>
              <a:rPr lang="en-US" sz="1350" dirty="0">
                <a:solidFill>
                  <a:schemeClr val="bg1"/>
                </a:solidFill>
                <a:cs typeface="Arial" pitchFamily="34" charset="0"/>
              </a:rPr>
              <a:t>Introduction</a:t>
            </a:r>
          </a:p>
        </p:txBody>
      </p:sp>
      <p:sp>
        <p:nvSpPr>
          <p:cNvPr id="25" name="Rectangle 11"/>
          <p:cNvSpPr>
            <a:spLocks noChangeArrowheads="1"/>
          </p:cNvSpPr>
          <p:nvPr/>
        </p:nvSpPr>
        <p:spPr bwMode="auto">
          <a:xfrm>
            <a:off x="1900871" y="2410425"/>
            <a:ext cx="1915312" cy="765384"/>
          </a:xfrm>
          <a:prstGeom prst="rect">
            <a:avLst/>
          </a:prstGeom>
          <a:noFill/>
          <a:ln w="12700" algn="ctr">
            <a:solidFill>
              <a:schemeClr val="accent1"/>
            </a:solidFill>
            <a:miter lim="800000"/>
            <a:headEnd/>
            <a:tailEnd/>
          </a:ln>
        </p:spPr>
        <p:txBody>
          <a:bodyPr lIns="66675" tIns="66675" rIns="66675" bIns="66675" anchor="t" anchorCtr="0"/>
          <a:lstStyle/>
          <a:p>
            <a:pPr marL="85725" lvl="1" indent="-85725" defTabSz="717947">
              <a:spcBef>
                <a:spcPts val="150"/>
              </a:spcBef>
              <a:spcAft>
                <a:spcPts val="225"/>
              </a:spcAft>
              <a:buSzPct val="100000"/>
              <a:buFont typeface="Arial"/>
              <a:buChar char="•"/>
            </a:pPr>
            <a:r>
              <a:rPr lang="en-US" sz="1200" dirty="0">
                <a:cs typeface="Arial" pitchFamily="34" charset="0"/>
              </a:rPr>
              <a:t> Classification Problem </a:t>
            </a:r>
          </a:p>
          <a:p>
            <a:pPr marL="85725" lvl="1" indent="-85725" defTabSz="717947">
              <a:spcBef>
                <a:spcPts val="150"/>
              </a:spcBef>
              <a:spcAft>
                <a:spcPts val="225"/>
              </a:spcAft>
              <a:buSzPct val="100000"/>
              <a:buFont typeface="Arial"/>
              <a:buChar char="•"/>
            </a:pPr>
            <a:r>
              <a:rPr lang="en-US" sz="1200" dirty="0">
                <a:cs typeface="Arial" pitchFamily="34" charset="0"/>
              </a:rPr>
              <a:t>Using labeled data to predict outcomes</a:t>
            </a:r>
          </a:p>
        </p:txBody>
      </p:sp>
      <p:sp>
        <p:nvSpPr>
          <p:cNvPr id="27" name="Text Box 10"/>
          <p:cNvSpPr txBox="1">
            <a:spLocks noChangeArrowheads="1"/>
          </p:cNvSpPr>
          <p:nvPr/>
        </p:nvSpPr>
        <p:spPr bwMode="auto">
          <a:xfrm>
            <a:off x="1900871" y="3342989"/>
            <a:ext cx="1915312"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t" anchorCtr="0"/>
          <a:lstStyle/>
          <a:p>
            <a:pPr defTabSz="717947">
              <a:spcBef>
                <a:spcPts val="150"/>
              </a:spcBef>
            </a:pPr>
            <a:r>
              <a:rPr lang="en-US" sz="1350" dirty="0">
                <a:solidFill>
                  <a:schemeClr val="bg1"/>
                </a:solidFill>
                <a:cs typeface="Arial" pitchFamily="34" charset="0"/>
              </a:rPr>
              <a:t>Model I</a:t>
            </a:r>
          </a:p>
        </p:txBody>
      </p:sp>
      <p:sp>
        <p:nvSpPr>
          <p:cNvPr id="28" name="Rectangle 11"/>
          <p:cNvSpPr>
            <a:spLocks noChangeArrowheads="1"/>
          </p:cNvSpPr>
          <p:nvPr/>
        </p:nvSpPr>
        <p:spPr bwMode="auto">
          <a:xfrm>
            <a:off x="1911255" y="3690475"/>
            <a:ext cx="1915312" cy="443396"/>
          </a:xfrm>
          <a:prstGeom prst="rect">
            <a:avLst/>
          </a:prstGeom>
          <a:noFill/>
          <a:ln w="12700" algn="ctr">
            <a:solidFill>
              <a:schemeClr val="accent1"/>
            </a:solidFill>
            <a:miter lim="800000"/>
            <a:headEnd/>
            <a:tailEnd/>
          </a:ln>
        </p:spPr>
        <p:txBody>
          <a:bodyPr lIns="66675" tIns="66675" rIns="66675" bIns="66675" anchor="t"/>
          <a:lstStyle/>
          <a:p>
            <a:pPr defTabSz="718499">
              <a:spcBef>
                <a:spcPts val="150"/>
              </a:spcBef>
              <a:spcAft>
                <a:spcPts val="225"/>
              </a:spcAft>
              <a:defRPr/>
            </a:pPr>
            <a:r>
              <a:rPr lang="en-US" sz="1200" kern="0" dirty="0">
                <a:cs typeface="Arial" pitchFamily="34" charset="0"/>
              </a:rPr>
              <a:t>Logistic Regression </a:t>
            </a:r>
          </a:p>
        </p:txBody>
      </p:sp>
      <p:sp>
        <p:nvSpPr>
          <p:cNvPr id="29" name="Text Box 10"/>
          <p:cNvSpPr txBox="1">
            <a:spLocks noChangeArrowheads="1"/>
          </p:cNvSpPr>
          <p:nvPr/>
        </p:nvSpPr>
        <p:spPr bwMode="auto">
          <a:xfrm>
            <a:off x="4059399" y="2066089"/>
            <a:ext cx="6229325"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ctr" anchorCtr="0"/>
          <a:lstStyle/>
          <a:p>
            <a:pPr defTabSz="717947">
              <a:spcBef>
                <a:spcPts val="150"/>
              </a:spcBef>
            </a:pPr>
            <a:r>
              <a:rPr lang="en-US" sz="1350" dirty="0">
                <a:solidFill>
                  <a:schemeClr val="bg1"/>
                </a:solidFill>
                <a:cs typeface="Arial" pitchFamily="34" charset="0"/>
              </a:rPr>
              <a:t>Problem Statement</a:t>
            </a:r>
          </a:p>
        </p:txBody>
      </p:sp>
      <p:sp>
        <p:nvSpPr>
          <p:cNvPr id="30" name="Rectangle 11"/>
          <p:cNvSpPr>
            <a:spLocks noChangeArrowheads="1"/>
          </p:cNvSpPr>
          <p:nvPr/>
        </p:nvSpPr>
        <p:spPr bwMode="auto">
          <a:xfrm>
            <a:off x="4059399" y="2410425"/>
            <a:ext cx="6229325" cy="765384"/>
          </a:xfrm>
          <a:prstGeom prst="rect">
            <a:avLst/>
          </a:prstGeom>
          <a:noFill/>
          <a:ln w="12700" algn="ctr">
            <a:solidFill>
              <a:schemeClr val="accent1"/>
            </a:solidFill>
            <a:miter lim="800000"/>
            <a:headEnd/>
            <a:tailEnd/>
          </a:ln>
        </p:spPr>
        <p:txBody>
          <a:bodyPr lIns="66675" tIns="66675" rIns="66675" bIns="66675" anchor="t" anchorCtr="0"/>
          <a:lstStyle/>
          <a:p>
            <a:pPr defTabSz="717947">
              <a:spcBef>
                <a:spcPts val="150"/>
              </a:spcBef>
              <a:spcAft>
                <a:spcPts val="225"/>
              </a:spcAft>
            </a:pPr>
            <a:r>
              <a:rPr lang="en-US" sz="1200" dirty="0">
                <a:effectLst/>
                <a:latin typeface="Calibri" panose="020F0502020204030204" pitchFamily="34" charset="0"/>
              </a:rPr>
              <a:t>Using the phishing data, can we predict which website is a phishing or legitimate? </a:t>
            </a:r>
            <a:endParaRPr lang="fr-FR" sz="1200" dirty="0">
              <a:cs typeface="Arial" pitchFamily="34" charset="0"/>
            </a:endParaRPr>
          </a:p>
        </p:txBody>
      </p:sp>
      <p:sp>
        <p:nvSpPr>
          <p:cNvPr id="31" name="Text Box 10"/>
          <p:cNvSpPr txBox="1">
            <a:spLocks noChangeArrowheads="1"/>
          </p:cNvSpPr>
          <p:nvPr/>
        </p:nvSpPr>
        <p:spPr bwMode="auto">
          <a:xfrm>
            <a:off x="4059398" y="3342989"/>
            <a:ext cx="1915312"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t" anchorCtr="0"/>
          <a:lstStyle/>
          <a:p>
            <a:pPr defTabSz="717947">
              <a:spcBef>
                <a:spcPts val="150"/>
              </a:spcBef>
            </a:pPr>
            <a:r>
              <a:rPr lang="en-US" sz="1350" dirty="0">
                <a:solidFill>
                  <a:schemeClr val="bg1"/>
                </a:solidFill>
                <a:cs typeface="Arial" pitchFamily="34" charset="0"/>
              </a:rPr>
              <a:t>Model II</a:t>
            </a:r>
          </a:p>
        </p:txBody>
      </p:sp>
      <p:sp>
        <p:nvSpPr>
          <p:cNvPr id="35" name="Rectangle 11"/>
          <p:cNvSpPr>
            <a:spLocks noChangeArrowheads="1"/>
          </p:cNvSpPr>
          <p:nvPr/>
        </p:nvSpPr>
        <p:spPr bwMode="auto">
          <a:xfrm>
            <a:off x="4058976" y="3690475"/>
            <a:ext cx="1915312" cy="443396"/>
          </a:xfrm>
          <a:prstGeom prst="rect">
            <a:avLst/>
          </a:prstGeom>
          <a:noFill/>
          <a:ln w="12700" algn="ctr">
            <a:solidFill>
              <a:schemeClr val="accent1"/>
            </a:solidFill>
            <a:miter lim="800000"/>
            <a:headEnd/>
            <a:tailEnd/>
          </a:ln>
        </p:spPr>
        <p:txBody>
          <a:bodyPr lIns="66675" tIns="66675" rIns="66675" bIns="66675" anchor="t"/>
          <a:lstStyle/>
          <a:p>
            <a:pPr defTabSz="718499">
              <a:spcBef>
                <a:spcPts val="150"/>
              </a:spcBef>
              <a:spcAft>
                <a:spcPts val="225"/>
              </a:spcAft>
              <a:defRPr/>
            </a:pPr>
            <a:r>
              <a:rPr lang="en-US" sz="1200" kern="0" dirty="0">
                <a:cs typeface="Arial" pitchFamily="34" charset="0"/>
              </a:rPr>
              <a:t>Decision Trees</a:t>
            </a:r>
          </a:p>
        </p:txBody>
      </p:sp>
      <p:sp>
        <p:nvSpPr>
          <p:cNvPr id="36" name="Text Box 10"/>
          <p:cNvSpPr txBox="1">
            <a:spLocks noChangeArrowheads="1"/>
          </p:cNvSpPr>
          <p:nvPr/>
        </p:nvSpPr>
        <p:spPr bwMode="auto">
          <a:xfrm>
            <a:off x="6217924" y="3342989"/>
            <a:ext cx="1915312"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t" anchorCtr="0"/>
          <a:lstStyle/>
          <a:p>
            <a:pPr defTabSz="717947">
              <a:spcBef>
                <a:spcPts val="150"/>
              </a:spcBef>
            </a:pPr>
            <a:r>
              <a:rPr lang="en-US" sz="1350" dirty="0">
                <a:solidFill>
                  <a:schemeClr val="bg1"/>
                </a:solidFill>
                <a:cs typeface="Arial" pitchFamily="34" charset="0"/>
              </a:rPr>
              <a:t>Model III</a:t>
            </a:r>
          </a:p>
        </p:txBody>
      </p:sp>
      <p:sp>
        <p:nvSpPr>
          <p:cNvPr id="37" name="Rectangle 11"/>
          <p:cNvSpPr>
            <a:spLocks noChangeArrowheads="1"/>
          </p:cNvSpPr>
          <p:nvPr/>
        </p:nvSpPr>
        <p:spPr bwMode="auto">
          <a:xfrm>
            <a:off x="6217713" y="3690475"/>
            <a:ext cx="1915312" cy="443396"/>
          </a:xfrm>
          <a:prstGeom prst="rect">
            <a:avLst/>
          </a:prstGeom>
          <a:noFill/>
          <a:ln w="12700" algn="ctr">
            <a:solidFill>
              <a:schemeClr val="accent1"/>
            </a:solidFill>
            <a:miter lim="800000"/>
            <a:headEnd/>
            <a:tailEnd/>
          </a:ln>
        </p:spPr>
        <p:txBody>
          <a:bodyPr lIns="66675" tIns="66675" rIns="66675" bIns="66675" anchor="t"/>
          <a:lstStyle/>
          <a:p>
            <a:pPr defTabSz="718499">
              <a:spcBef>
                <a:spcPts val="150"/>
              </a:spcBef>
              <a:spcAft>
                <a:spcPts val="225"/>
              </a:spcAft>
              <a:defRPr/>
            </a:pPr>
            <a:r>
              <a:rPr lang="en-US" sz="1200" kern="0" dirty="0">
                <a:cs typeface="Arial" pitchFamily="34" charset="0"/>
              </a:rPr>
              <a:t>Random Forest</a:t>
            </a:r>
          </a:p>
        </p:txBody>
      </p:sp>
      <p:sp>
        <p:nvSpPr>
          <p:cNvPr id="38" name="Text Box 10"/>
          <p:cNvSpPr txBox="1">
            <a:spLocks noChangeArrowheads="1"/>
          </p:cNvSpPr>
          <p:nvPr/>
        </p:nvSpPr>
        <p:spPr bwMode="auto">
          <a:xfrm>
            <a:off x="8376450" y="3342989"/>
            <a:ext cx="1915312" cy="342900"/>
          </a:xfrm>
          <a:prstGeom prst="rect">
            <a:avLst/>
          </a:prstGeom>
          <a:solidFill>
            <a:schemeClr val="accent1"/>
          </a:solidFill>
          <a:ln w="12700" algn="ctr">
            <a:solidFill>
              <a:srgbClr val="86BC25"/>
            </a:solidFill>
            <a:miter lim="800000"/>
            <a:headEnd/>
            <a:tailEnd type="none" w="sm" len="med"/>
          </a:ln>
        </p:spPr>
        <p:txBody>
          <a:bodyPr lIns="66675" tIns="66675" rIns="66675" bIns="66675" anchor="t" anchorCtr="0"/>
          <a:lstStyle/>
          <a:p>
            <a:pPr defTabSz="717947">
              <a:spcBef>
                <a:spcPts val="150"/>
              </a:spcBef>
            </a:pPr>
            <a:r>
              <a:rPr lang="en-US" sz="1350" dirty="0">
                <a:solidFill>
                  <a:schemeClr val="bg1"/>
                </a:solidFill>
                <a:cs typeface="Arial" pitchFamily="34" charset="0"/>
              </a:rPr>
              <a:t>Model IV</a:t>
            </a:r>
          </a:p>
        </p:txBody>
      </p:sp>
      <p:sp>
        <p:nvSpPr>
          <p:cNvPr id="39" name="Rectangle 11"/>
          <p:cNvSpPr>
            <a:spLocks noChangeArrowheads="1"/>
          </p:cNvSpPr>
          <p:nvPr/>
        </p:nvSpPr>
        <p:spPr bwMode="auto">
          <a:xfrm>
            <a:off x="8376450" y="3690475"/>
            <a:ext cx="1915312" cy="443396"/>
          </a:xfrm>
          <a:prstGeom prst="rect">
            <a:avLst/>
          </a:prstGeom>
          <a:noFill/>
          <a:ln w="12700" algn="ctr">
            <a:solidFill>
              <a:schemeClr val="accent1"/>
            </a:solidFill>
            <a:miter lim="800000"/>
            <a:headEnd/>
            <a:tailEnd/>
          </a:ln>
        </p:spPr>
        <p:txBody>
          <a:bodyPr lIns="66675" tIns="66675" rIns="66675" bIns="66675" anchor="t"/>
          <a:lstStyle/>
          <a:p>
            <a:pPr defTabSz="718499">
              <a:spcBef>
                <a:spcPts val="150"/>
              </a:spcBef>
              <a:spcAft>
                <a:spcPts val="225"/>
              </a:spcAft>
              <a:defRPr/>
            </a:pPr>
            <a:r>
              <a:rPr lang="en-US" sz="1200" kern="0" dirty="0">
                <a:cs typeface="Arial" pitchFamily="34" charset="0"/>
              </a:rPr>
              <a:t>XGBoost</a:t>
            </a:r>
          </a:p>
        </p:txBody>
      </p:sp>
      <p:sp>
        <p:nvSpPr>
          <p:cNvPr id="40" name="Text Placeholder 31"/>
          <p:cNvSpPr txBox="1">
            <a:spLocks/>
          </p:cNvSpPr>
          <p:nvPr/>
        </p:nvSpPr>
        <p:spPr bwMode="auto">
          <a:xfrm>
            <a:off x="1900871" y="4223193"/>
            <a:ext cx="1915312" cy="11163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5725" lvl="1" indent="-85725">
              <a:buSzPct val="100000"/>
              <a:buFont typeface="Arial"/>
              <a:buChar char="•"/>
              <a:defRPr/>
            </a:pPr>
            <a:r>
              <a:rPr lang="en-US" dirty="0"/>
              <a:t>Binary prediction using mathematics to find relationship between two data factors</a:t>
            </a:r>
          </a:p>
        </p:txBody>
      </p:sp>
      <p:sp>
        <p:nvSpPr>
          <p:cNvPr id="7" name="Isosceles Triangle 6"/>
          <p:cNvSpPr/>
          <p:nvPr/>
        </p:nvSpPr>
        <p:spPr bwMode="gray">
          <a:xfrm rot="5400000">
            <a:off x="3834920" y="2739634"/>
            <a:ext cx="205740" cy="91205"/>
          </a:xfrm>
          <a:prstGeom prst="triangle">
            <a:avLst/>
          </a:prstGeom>
          <a:solidFill>
            <a:schemeClr val="bg1">
              <a:lumMod val="85000"/>
            </a:schemeClr>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schemeClr val="bg1"/>
              </a:solidFill>
            </a:endParaRPr>
          </a:p>
        </p:txBody>
      </p:sp>
      <p:sp>
        <p:nvSpPr>
          <p:cNvPr id="44" name="Text Placeholder 31"/>
          <p:cNvSpPr txBox="1">
            <a:spLocks/>
          </p:cNvSpPr>
          <p:nvPr/>
        </p:nvSpPr>
        <p:spPr bwMode="auto">
          <a:xfrm>
            <a:off x="4059398" y="4223193"/>
            <a:ext cx="1915312" cy="11163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5725" lvl="1" indent="-85725">
              <a:buSzPct val="100000"/>
              <a:buFont typeface="Arial"/>
              <a:buChar char="•"/>
              <a:defRPr/>
            </a:pPr>
            <a:r>
              <a:rPr lang="en-US" dirty="0"/>
              <a:t>Makes predictions based on a previous set of established (and all-inclusive) patterns of outcomes </a:t>
            </a:r>
          </a:p>
        </p:txBody>
      </p:sp>
      <p:sp>
        <p:nvSpPr>
          <p:cNvPr id="45" name="Text Placeholder 31"/>
          <p:cNvSpPr txBox="1">
            <a:spLocks/>
          </p:cNvSpPr>
          <p:nvPr/>
        </p:nvSpPr>
        <p:spPr bwMode="auto">
          <a:xfrm>
            <a:off x="6217924" y="4223193"/>
            <a:ext cx="1915312" cy="11163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5725" lvl="1" indent="-85725">
              <a:buSzPct val="100000"/>
              <a:buFont typeface="Arial"/>
              <a:buChar char="•"/>
              <a:defRPr/>
            </a:pPr>
            <a:r>
              <a:rPr lang="en-US" dirty="0"/>
              <a:t>Also makes its prediction based on learned patterns by combining multiple decision trees to reach a single conclusion</a:t>
            </a:r>
          </a:p>
        </p:txBody>
      </p:sp>
      <p:sp>
        <p:nvSpPr>
          <p:cNvPr id="46" name="Text Placeholder 31"/>
          <p:cNvSpPr txBox="1">
            <a:spLocks/>
          </p:cNvSpPr>
          <p:nvPr/>
        </p:nvSpPr>
        <p:spPr bwMode="auto">
          <a:xfrm>
            <a:off x="8376450" y="4223193"/>
            <a:ext cx="1915312" cy="11163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400"/>
              </a:spcBef>
              <a:buSzPct val="25000"/>
              <a:buFont typeface="Arial" pitchFamily="34" charset="0"/>
              <a:buChar char="‏"/>
              <a:defRPr sz="1200" kern="1200">
                <a:solidFill>
                  <a:schemeClr val="tx1"/>
                </a:solidFill>
                <a:latin typeface="+mn-lt"/>
                <a:ea typeface="+mn-ea"/>
                <a:cs typeface="Arial" pitchFamily="34" charset="0"/>
              </a:defRPr>
            </a:lvl1pPr>
            <a:lvl2pPr marL="228600" indent="-152400" algn="l" defTabSz="914400" rtl="0" eaLnBrk="1" latinLnBrk="0" hangingPunct="1">
              <a:spcBef>
                <a:spcPts val="400"/>
              </a:spcBef>
              <a:buClrTx/>
              <a:buSzPct val="65000"/>
              <a:buFont typeface="Wingdings"/>
              <a:buChar char="l"/>
              <a:defRPr sz="1200" kern="1200">
                <a:solidFill>
                  <a:schemeClr val="tx1"/>
                </a:solidFill>
                <a:latin typeface="+mn-lt"/>
                <a:ea typeface="+mn-ea"/>
                <a:cs typeface="Arial" pitchFamily="34" charset="0"/>
              </a:defRPr>
            </a:lvl2pPr>
            <a:lvl3pPr marL="4572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3pPr>
            <a:lvl4pPr marL="685800" indent="-152400" algn="l" defTabSz="914400" rtl="0" eaLnBrk="1" latinLnBrk="0" hangingPunct="1">
              <a:spcBef>
                <a:spcPts val="200"/>
              </a:spcBef>
              <a:buClrTx/>
              <a:buSzPct val="55000"/>
              <a:buFont typeface="Wingdings"/>
              <a:buChar char="¡"/>
              <a:defRPr sz="1100" kern="1200">
                <a:solidFill>
                  <a:schemeClr val="tx1"/>
                </a:solidFill>
                <a:latin typeface="+mn-lt"/>
                <a:ea typeface="+mn-ea"/>
                <a:cs typeface="Arial" pitchFamily="34" charset="0"/>
              </a:defRPr>
            </a:lvl4pPr>
            <a:lvl5pPr marL="914400" indent="-152400" algn="l" defTabSz="914400" rtl="0" eaLnBrk="1" latinLnBrk="0" hangingPunct="1">
              <a:spcBef>
                <a:spcPts val="200"/>
              </a:spcBef>
              <a:buClrTx/>
              <a:buSzPct val="100000"/>
              <a:buFontTx/>
              <a:buChar char="–"/>
              <a:defRPr sz="11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5725" lvl="1" indent="-85725">
              <a:buSzPct val="100000"/>
              <a:buFont typeface="Arial"/>
              <a:buChar char="•"/>
              <a:defRPr/>
            </a:pPr>
            <a:r>
              <a:rPr lang="en-US" dirty="0"/>
              <a:t>Uses sequentially built shallow decision trees to provide flexible training methods that avoids overfitting</a:t>
            </a:r>
          </a:p>
        </p:txBody>
      </p:sp>
      <p:sp>
        <p:nvSpPr>
          <p:cNvPr id="22" name="Title 2">
            <a:extLst>
              <a:ext uri="{FF2B5EF4-FFF2-40B4-BE49-F238E27FC236}">
                <a16:creationId xmlns:a16="http://schemas.microsoft.com/office/drawing/2014/main" id="{58C214E9-AF7E-4BA1-9A76-0A90DD1C6BEE}"/>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t>Overview of machine learning models used</a:t>
            </a:r>
          </a:p>
        </p:txBody>
      </p:sp>
    </p:spTree>
    <p:extLst>
      <p:ext uri="{BB962C8B-B14F-4D97-AF65-F5344CB8AC3E}">
        <p14:creationId xmlns:p14="http://schemas.microsoft.com/office/powerpoint/2010/main" val="156682499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a:solidFill>
                  <a:schemeClr val="bg1"/>
                </a:solidFill>
              </a:rPr>
              <a:t>Data Understanding</a:t>
            </a:r>
          </a:p>
        </p:txBody>
      </p:sp>
      <p:pic>
        <p:nvPicPr>
          <p:cNvPr id="4" name="Picture 3">
            <a:extLst>
              <a:ext uri="{FF2B5EF4-FFF2-40B4-BE49-F238E27FC236}">
                <a16:creationId xmlns:a16="http://schemas.microsoft.com/office/drawing/2014/main" id="{930B9282-0C0A-4496-9FD0-7F4CCB9B46AB}"/>
              </a:ext>
            </a:extLst>
          </p:cNvPr>
          <p:cNvPicPr>
            <a:picLocks noChangeAspect="1"/>
          </p:cNvPicPr>
          <p:nvPr/>
        </p:nvPicPr>
        <p:blipFill>
          <a:blip r:embed="rId2"/>
          <a:stretch>
            <a:fillRect/>
          </a:stretch>
        </p:blipFill>
        <p:spPr>
          <a:xfrm>
            <a:off x="373224" y="6443753"/>
            <a:ext cx="10991101" cy="295275"/>
          </a:xfrm>
          <a:prstGeom prst="rect">
            <a:avLst/>
          </a:prstGeom>
        </p:spPr>
      </p:pic>
      <p:graphicFrame>
        <p:nvGraphicFramePr>
          <p:cNvPr id="27" name="Content Placeholder 6">
            <a:extLst>
              <a:ext uri="{FF2B5EF4-FFF2-40B4-BE49-F238E27FC236}">
                <a16:creationId xmlns:a16="http://schemas.microsoft.com/office/drawing/2014/main" id="{5CE9E9F4-8136-4708-B5E2-A059B5833CBF}"/>
              </a:ext>
            </a:extLst>
          </p:cNvPr>
          <p:cNvGraphicFramePr>
            <a:graphicFrameLocks/>
          </p:cNvGraphicFramePr>
          <p:nvPr>
            <p:extLst>
              <p:ext uri="{D42A27DB-BD31-4B8C-83A1-F6EECF244321}">
                <p14:modId xmlns:p14="http://schemas.microsoft.com/office/powerpoint/2010/main" val="2397962453"/>
              </p:ext>
            </p:extLst>
          </p:nvPr>
        </p:nvGraphicFramePr>
        <p:xfrm>
          <a:off x="7249316" y="2759008"/>
          <a:ext cx="4048314" cy="1577340"/>
        </p:xfrm>
        <a:graphic>
          <a:graphicData uri="http://schemas.openxmlformats.org/drawingml/2006/table">
            <a:tbl>
              <a:tblPr firstRow="1" bandRow="1">
                <a:tableStyleId>{5C22544A-7EE6-4342-B048-85BDC9FD1C3A}</a:tableStyleId>
              </a:tblPr>
              <a:tblGrid>
                <a:gridCol w="4048314">
                  <a:extLst>
                    <a:ext uri="{9D8B030D-6E8A-4147-A177-3AD203B41FA5}">
                      <a16:colId xmlns:a16="http://schemas.microsoft.com/office/drawing/2014/main" val="20000"/>
                    </a:ext>
                  </a:extLst>
                </a:gridCol>
              </a:tblGrid>
              <a:tr h="1076264">
                <a:tc>
                  <a:txBody>
                    <a:bodyPr/>
                    <a:lstStyle/>
                    <a:p>
                      <a:r>
                        <a:rPr lang="en-US" sz="1200" b="1" dirty="0">
                          <a:solidFill>
                            <a:srgbClr val="86BC25"/>
                          </a:solidFill>
                          <a:latin typeface="+mj-lt"/>
                        </a:rPr>
                        <a:t>Data Description</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Contains data of 11430 URLs from both phishing and legitimate websites </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Data came with 89 columns extracted from the websites page content, structure and URL syntax</a:t>
                      </a:r>
                    </a:p>
                    <a:p>
                      <a:pPr marL="114300" marR="0" lvl="1" indent="-1143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The dataset is balanced, i.e., it contains 50% phishing and 50% legitimate URLs</a:t>
                      </a:r>
                    </a:p>
                  </a:txBody>
                  <a:tcPr marL="68633" marR="68633" marT="34290" marB="3429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6" name="Group 35">
            <a:extLst>
              <a:ext uri="{FF2B5EF4-FFF2-40B4-BE49-F238E27FC236}">
                <a16:creationId xmlns:a16="http://schemas.microsoft.com/office/drawing/2014/main" id="{DEAAD32F-DF98-44E9-B5CB-3F1F41E73002}"/>
              </a:ext>
            </a:extLst>
          </p:cNvPr>
          <p:cNvGrpSpPr/>
          <p:nvPr/>
        </p:nvGrpSpPr>
        <p:grpSpPr>
          <a:xfrm>
            <a:off x="501652" y="1274331"/>
            <a:ext cx="6074530" cy="4546694"/>
            <a:chOff x="5360232" y="1502379"/>
            <a:chExt cx="6074530" cy="4546694"/>
          </a:xfrm>
        </p:grpSpPr>
        <p:pic>
          <p:nvPicPr>
            <p:cNvPr id="7" name="Picture 6">
              <a:extLst>
                <a:ext uri="{FF2B5EF4-FFF2-40B4-BE49-F238E27FC236}">
                  <a16:creationId xmlns:a16="http://schemas.microsoft.com/office/drawing/2014/main" id="{23950D60-DA33-433E-871B-43B0388E4BCA}"/>
                </a:ext>
              </a:extLst>
            </p:cNvPr>
            <p:cNvPicPr>
              <a:picLocks noChangeAspect="1"/>
            </p:cNvPicPr>
            <p:nvPr/>
          </p:nvPicPr>
          <p:blipFill>
            <a:blip r:embed="rId3"/>
            <a:stretch>
              <a:fillRect/>
            </a:stretch>
          </p:blipFill>
          <p:spPr>
            <a:xfrm>
              <a:off x="5360232" y="1502379"/>
              <a:ext cx="6074530" cy="4546694"/>
            </a:xfrm>
            <a:prstGeom prst="rect">
              <a:avLst/>
            </a:prstGeom>
          </p:spPr>
        </p:pic>
        <p:sp>
          <p:nvSpPr>
            <p:cNvPr id="29" name="TextBox 28">
              <a:extLst>
                <a:ext uri="{FF2B5EF4-FFF2-40B4-BE49-F238E27FC236}">
                  <a16:creationId xmlns:a16="http://schemas.microsoft.com/office/drawing/2014/main" id="{8EB1BFAE-ECB4-4797-A051-27DCA5EE3E23}"/>
                </a:ext>
              </a:extLst>
            </p:cNvPr>
            <p:cNvSpPr txBox="1"/>
            <p:nvPr/>
          </p:nvSpPr>
          <p:spPr>
            <a:xfrm>
              <a:off x="5486373" y="1620354"/>
              <a:ext cx="5822248" cy="4310743"/>
            </a:xfrm>
            <a:prstGeom prst="rect">
              <a:avLst/>
            </a:prstGeom>
            <a:ln w="28575"/>
          </p:spPr>
          <p:style>
            <a:lnRef idx="2">
              <a:schemeClr val="dk1"/>
            </a:lnRef>
            <a:fillRef idx="1">
              <a:schemeClr val="lt1"/>
            </a:fillRef>
            <a:effectRef idx="0">
              <a:schemeClr val="dk1"/>
            </a:effectRef>
            <a:fontRef idx="minor">
              <a:schemeClr val="dk1"/>
            </a:fontRef>
          </p:style>
          <p:txBody>
            <a:bodyPr vert="horz" wrap="square" lIns="0" tIns="0" rIns="0" bIns="0" rtlCol="0">
              <a:spAutoFit/>
            </a:bodyPr>
            <a:lstStyle/>
            <a:p>
              <a:pPr>
                <a:spcBef>
                  <a:spcPts val="200"/>
                </a:spcBef>
                <a:buSzPct val="100000"/>
              </a:pPr>
              <a:endParaRPr lang="en-US" sz="1200" dirty="0"/>
            </a:p>
          </p:txBody>
        </p:sp>
        <p:pic>
          <p:nvPicPr>
            <p:cNvPr id="32" name="Picture 31">
              <a:extLst>
                <a:ext uri="{FF2B5EF4-FFF2-40B4-BE49-F238E27FC236}">
                  <a16:creationId xmlns:a16="http://schemas.microsoft.com/office/drawing/2014/main" id="{E5020691-317F-4D97-BF08-C90A448D8D8A}"/>
                </a:ext>
              </a:extLst>
            </p:cNvPr>
            <p:cNvPicPr>
              <a:picLocks noChangeAspect="1"/>
            </p:cNvPicPr>
            <p:nvPr/>
          </p:nvPicPr>
          <p:blipFill>
            <a:blip r:embed="rId4"/>
            <a:stretch>
              <a:fillRect/>
            </a:stretch>
          </p:blipFill>
          <p:spPr>
            <a:xfrm>
              <a:off x="5517908" y="1620354"/>
              <a:ext cx="5759178" cy="4292356"/>
            </a:xfrm>
            <a:prstGeom prst="rect">
              <a:avLst/>
            </a:prstGeom>
          </p:spPr>
        </p:pic>
      </p:grpSp>
      <p:sp>
        <p:nvSpPr>
          <p:cNvPr id="10" name="Title 2">
            <a:extLst>
              <a:ext uri="{FF2B5EF4-FFF2-40B4-BE49-F238E27FC236}">
                <a16:creationId xmlns:a16="http://schemas.microsoft.com/office/drawing/2014/main" id="{A8029A4D-EE64-4A3D-BFD6-DCB28F816534}"/>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Data source and description</a:t>
            </a:r>
          </a:p>
        </p:txBody>
      </p:sp>
    </p:spTree>
    <p:extLst>
      <p:ext uri="{BB962C8B-B14F-4D97-AF65-F5344CB8AC3E}">
        <p14:creationId xmlns:p14="http://schemas.microsoft.com/office/powerpoint/2010/main" val="16906771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668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668192" y="858442"/>
                        <a:ext cx="1190" cy="1190"/>
                      </a:xfrm>
                      <a:prstGeom prst="rect">
                        <a:avLst/>
                      </a:prstGeom>
                    </p:spPr>
                  </p:pic>
                </p:oleObj>
              </mc:Fallback>
            </mc:AlternateContent>
          </a:graphicData>
        </a:graphic>
      </p:graphicFrame>
      <p:sp>
        <p:nvSpPr>
          <p:cNvPr id="5" name="Text Placeholder 4"/>
          <p:cNvSpPr>
            <a:spLocks noGrp="1"/>
          </p:cNvSpPr>
          <p:nvPr>
            <p:ph type="body" sz="quarter" idx="18"/>
          </p:nvPr>
        </p:nvSpPr>
        <p:spPr>
          <a:xfrm>
            <a:off x="501649" y="1162845"/>
            <a:ext cx="11188699" cy="357187"/>
          </a:xfrm>
        </p:spPr>
        <p:txBody>
          <a:bodyPr/>
          <a:lstStyle/>
          <a:p>
            <a:r>
              <a:rPr lang="en-US" dirty="0">
                <a:solidFill>
                  <a:schemeClr val="bg1"/>
                </a:solidFill>
              </a:rPr>
              <a:t>Using lasso regularization as the feature selection methodology, the dataset features was filtered from the initial 87 to 15 that contributed the most to this desired target</a:t>
            </a:r>
          </a:p>
        </p:txBody>
      </p:sp>
      <p:sp>
        <p:nvSpPr>
          <p:cNvPr id="17" name="Text Placeholder 16"/>
          <p:cNvSpPr>
            <a:spLocks noGrp="1"/>
          </p:cNvSpPr>
          <p:nvPr>
            <p:ph type="body" sz="quarter" idx="23"/>
          </p:nvPr>
        </p:nvSpPr>
        <p:spPr>
          <a:xfrm>
            <a:off x="501649" y="6037041"/>
            <a:ext cx="11329564" cy="260737"/>
          </a:xfrm>
        </p:spPr>
        <p:txBody>
          <a:bodyPr>
            <a:noAutofit/>
          </a:bodyPr>
          <a:lstStyle/>
          <a:p>
            <a:r>
              <a:rPr lang="en-US" sz="1200" dirty="0">
                <a:solidFill>
                  <a:schemeClr val="bg1"/>
                </a:solidFill>
              </a:rPr>
              <a:t>The graph above shows how much each feature contributes to detecting if a website is a legitimate or a phishing website based on features with coefficients higher than the mean coefficient of all 89 features</a:t>
            </a:r>
          </a:p>
        </p:txBody>
      </p:sp>
      <p:sp>
        <p:nvSpPr>
          <p:cNvPr id="2" name="Title 1"/>
          <p:cNvSpPr>
            <a:spLocks noGrp="1"/>
          </p:cNvSpPr>
          <p:nvPr>
            <p:ph type="title"/>
          </p:nvPr>
        </p:nvSpPr>
        <p:spPr/>
        <p:txBody>
          <a:bodyPr/>
          <a:lstStyle/>
          <a:p>
            <a:r>
              <a:rPr lang="en-US" altLang="ja-JP" b="1" dirty="0">
                <a:solidFill>
                  <a:schemeClr val="bg1"/>
                </a:solidFill>
              </a:rPr>
              <a:t>Data Understanding</a:t>
            </a:r>
            <a:endParaRPr lang="en-US" b="1" dirty="0">
              <a:solidFill>
                <a:schemeClr val="bg1"/>
              </a:solidFill>
            </a:endParaRPr>
          </a:p>
        </p:txBody>
      </p:sp>
      <p:pic>
        <p:nvPicPr>
          <p:cNvPr id="12" name="Picture 11">
            <a:extLst>
              <a:ext uri="{FF2B5EF4-FFF2-40B4-BE49-F238E27FC236}">
                <a16:creationId xmlns:a16="http://schemas.microsoft.com/office/drawing/2014/main" id="{D21821B7-3A43-44AC-909C-1C5C6EF49A96}"/>
              </a:ext>
            </a:extLst>
          </p:cNvPr>
          <p:cNvPicPr>
            <a:picLocks noChangeAspect="1"/>
          </p:cNvPicPr>
          <p:nvPr/>
        </p:nvPicPr>
        <p:blipFill>
          <a:blip r:embed="rId6"/>
          <a:stretch>
            <a:fillRect/>
          </a:stretch>
        </p:blipFill>
        <p:spPr>
          <a:xfrm>
            <a:off x="261257" y="6381754"/>
            <a:ext cx="10991101" cy="295275"/>
          </a:xfrm>
          <a:prstGeom prst="rect">
            <a:avLst/>
          </a:prstGeom>
        </p:spPr>
      </p:pic>
      <p:sp>
        <p:nvSpPr>
          <p:cNvPr id="8" name="Title 2">
            <a:extLst>
              <a:ext uri="{FF2B5EF4-FFF2-40B4-BE49-F238E27FC236}">
                <a16:creationId xmlns:a16="http://schemas.microsoft.com/office/drawing/2014/main" id="{C0859A5B-8CDD-4C0A-BDD1-0F84AAC28343}"/>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Features that influence website legitimacy </a:t>
            </a:r>
          </a:p>
        </p:txBody>
      </p:sp>
      <p:pic>
        <p:nvPicPr>
          <p:cNvPr id="6" name="Picture 5">
            <a:extLst>
              <a:ext uri="{FF2B5EF4-FFF2-40B4-BE49-F238E27FC236}">
                <a16:creationId xmlns:a16="http://schemas.microsoft.com/office/drawing/2014/main" id="{908CEB72-DB3F-4572-90A0-66939812009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642778" y="1750096"/>
            <a:ext cx="8906443" cy="3849783"/>
          </a:xfrm>
          <a:prstGeom prst="rect">
            <a:avLst/>
          </a:prstGeom>
        </p:spPr>
      </p:pic>
    </p:spTree>
    <p:extLst>
      <p:ext uri="{BB962C8B-B14F-4D97-AF65-F5344CB8AC3E}">
        <p14:creationId xmlns:p14="http://schemas.microsoft.com/office/powerpoint/2010/main" val="25967030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501649" y="1158025"/>
            <a:ext cx="9939303" cy="1026746"/>
          </a:xfrm>
        </p:spPr>
        <p:txBody>
          <a:bodyPr/>
          <a:lstStyle/>
          <a:p>
            <a:pPr lvl="2"/>
            <a:r>
              <a:rPr lang="en-GB" dirty="0">
                <a:solidFill>
                  <a:schemeClr val="bg1"/>
                </a:solidFill>
              </a:rPr>
              <a:t>Exploratory data analysis is used to dive deeper and select the final features to be used for modelling</a:t>
            </a:r>
          </a:p>
          <a:p>
            <a:pPr lvl="2"/>
            <a:r>
              <a:rPr lang="en-GB" dirty="0">
                <a:solidFill>
                  <a:schemeClr val="bg1"/>
                </a:solidFill>
              </a:rPr>
              <a:t>Assessing variability using the box plot, domain age is removed from the list of features due to high variance compared to other features</a:t>
            </a:r>
          </a:p>
          <a:p>
            <a:pPr lvl="2"/>
            <a:r>
              <a:rPr lang="en-GB" dirty="0">
                <a:solidFill>
                  <a:schemeClr val="bg1"/>
                </a:solidFill>
              </a:rPr>
              <a:t>Furthermore, random domain is also removed due to little contribution to the model </a:t>
            </a:r>
          </a:p>
        </p:txBody>
      </p:sp>
      <p:sp>
        <p:nvSpPr>
          <p:cNvPr id="2" name="Title 1"/>
          <p:cNvSpPr>
            <a:spLocks noGrp="1"/>
          </p:cNvSpPr>
          <p:nvPr>
            <p:ph type="title"/>
          </p:nvPr>
        </p:nvSpPr>
        <p:spPr/>
        <p:txBody>
          <a:bodyPr/>
          <a:lstStyle/>
          <a:p>
            <a:r>
              <a:rPr lang="en-US" altLang="ja-JP" b="1" dirty="0">
                <a:solidFill>
                  <a:schemeClr val="bg1"/>
                </a:solidFill>
              </a:rPr>
              <a:t>Data Understanding</a:t>
            </a:r>
            <a:endParaRPr lang="en-US" b="1" dirty="0"/>
          </a:p>
        </p:txBody>
      </p:sp>
      <p:pic>
        <p:nvPicPr>
          <p:cNvPr id="18" name="Picture 17">
            <a:extLst>
              <a:ext uri="{FF2B5EF4-FFF2-40B4-BE49-F238E27FC236}">
                <a16:creationId xmlns:a16="http://schemas.microsoft.com/office/drawing/2014/main" id="{467DCF38-BF0C-46EA-859C-FAA9378D473C}"/>
              </a:ext>
            </a:extLst>
          </p:cNvPr>
          <p:cNvPicPr>
            <a:picLocks noChangeAspect="1"/>
          </p:cNvPicPr>
          <p:nvPr/>
        </p:nvPicPr>
        <p:blipFill>
          <a:blip r:embed="rId3"/>
          <a:stretch>
            <a:fillRect/>
          </a:stretch>
        </p:blipFill>
        <p:spPr>
          <a:xfrm>
            <a:off x="261257" y="6381754"/>
            <a:ext cx="10991101" cy="295275"/>
          </a:xfrm>
          <a:prstGeom prst="rect">
            <a:avLst/>
          </a:prstGeom>
        </p:spPr>
      </p:pic>
      <p:sp>
        <p:nvSpPr>
          <p:cNvPr id="21" name="Text Placeholder 16">
            <a:extLst>
              <a:ext uri="{FF2B5EF4-FFF2-40B4-BE49-F238E27FC236}">
                <a16:creationId xmlns:a16="http://schemas.microsoft.com/office/drawing/2014/main" id="{3AB12EE5-0784-4A95-B821-3FFE6527ED33}"/>
              </a:ext>
            </a:extLst>
          </p:cNvPr>
          <p:cNvSpPr txBox="1">
            <a:spLocks/>
          </p:cNvSpPr>
          <p:nvPr/>
        </p:nvSpPr>
        <p:spPr>
          <a:xfrm>
            <a:off x="501649" y="6037041"/>
            <a:ext cx="11329564" cy="260737"/>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Tx/>
              <a:buNone/>
              <a:defRPr sz="675"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200" dirty="0">
                <a:solidFill>
                  <a:schemeClr val="bg1"/>
                </a:solidFill>
              </a:rPr>
              <a:t>This leaves the model with 13 total features that contributes well to the target and has comparable amount of variance so that there is no one feature that might cause the model to not generalize well on unseen data</a:t>
            </a:r>
          </a:p>
        </p:txBody>
      </p:sp>
      <p:sp>
        <p:nvSpPr>
          <p:cNvPr id="9" name="Title 2">
            <a:extLst>
              <a:ext uri="{FF2B5EF4-FFF2-40B4-BE49-F238E27FC236}">
                <a16:creationId xmlns:a16="http://schemas.microsoft.com/office/drawing/2014/main" id="{26E5B06C-30B6-4735-85A4-2B742DA976A8}"/>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solidFill>
                  <a:schemeClr val="bg1"/>
                </a:solidFill>
              </a:rPr>
              <a:t>Features selection for modelling</a:t>
            </a:r>
          </a:p>
        </p:txBody>
      </p:sp>
      <p:pic>
        <p:nvPicPr>
          <p:cNvPr id="7" name="Picture 6">
            <a:extLst>
              <a:ext uri="{FF2B5EF4-FFF2-40B4-BE49-F238E27FC236}">
                <a16:creationId xmlns:a16="http://schemas.microsoft.com/office/drawing/2014/main" id="{420F759C-0688-4B0E-BF9A-94E9159A946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844427" y="2171310"/>
            <a:ext cx="8503145" cy="3779176"/>
          </a:xfrm>
          <a:prstGeom prst="rect">
            <a:avLst/>
          </a:prstGeom>
        </p:spPr>
      </p:pic>
    </p:spTree>
    <p:extLst>
      <p:ext uri="{BB962C8B-B14F-4D97-AF65-F5344CB8AC3E}">
        <p14:creationId xmlns:p14="http://schemas.microsoft.com/office/powerpoint/2010/main" val="37481796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52A8F-5168-4489-86F4-10C0DF212F13}"/>
              </a:ext>
            </a:extLst>
          </p:cNvPr>
          <p:cNvSpPr>
            <a:spLocks noGrp="1"/>
          </p:cNvSpPr>
          <p:nvPr>
            <p:ph type="title"/>
          </p:nvPr>
        </p:nvSpPr>
        <p:spPr>
          <a:xfrm>
            <a:off x="370554" y="349395"/>
            <a:ext cx="11188700" cy="334099"/>
          </a:xfrm>
        </p:spPr>
        <p:txBody>
          <a:bodyPr/>
          <a:lstStyle/>
          <a:p>
            <a:r>
              <a:rPr lang="en-US" b="1" dirty="0">
                <a:solidFill>
                  <a:schemeClr val="bg1"/>
                </a:solidFill>
              </a:rPr>
              <a:t>Model Evaluation and Recommendation</a:t>
            </a:r>
            <a:endParaRPr lang="en-US" dirty="0">
              <a:solidFill>
                <a:schemeClr val="bg1"/>
              </a:solidFill>
            </a:endParaRPr>
          </a:p>
        </p:txBody>
      </p:sp>
      <p:grpSp>
        <p:nvGrpSpPr>
          <p:cNvPr id="2" name="Group 1">
            <a:extLst>
              <a:ext uri="{FF2B5EF4-FFF2-40B4-BE49-F238E27FC236}">
                <a16:creationId xmlns:a16="http://schemas.microsoft.com/office/drawing/2014/main" id="{62B3AA42-CBDB-45B5-A452-25553328755C}"/>
              </a:ext>
            </a:extLst>
          </p:cNvPr>
          <p:cNvGrpSpPr/>
          <p:nvPr/>
        </p:nvGrpSpPr>
        <p:grpSpPr>
          <a:xfrm>
            <a:off x="326572" y="979712"/>
            <a:ext cx="11429091" cy="4487192"/>
            <a:chOff x="1451265" y="1250500"/>
            <a:chExt cx="9060873" cy="3924495"/>
          </a:xfrm>
        </p:grpSpPr>
        <p:sp>
          <p:nvSpPr>
            <p:cNvPr id="6" name="Freeform 11">
              <a:extLst>
                <a:ext uri="{FF2B5EF4-FFF2-40B4-BE49-F238E27FC236}">
                  <a16:creationId xmlns:a16="http://schemas.microsoft.com/office/drawing/2014/main" id="{E6D675EC-425C-4157-A4F5-9ABBC5F6AF8F}"/>
                </a:ext>
              </a:extLst>
            </p:cNvPr>
            <p:cNvSpPr/>
            <p:nvPr>
              <p:custDataLst>
                <p:tags r:id="rId2"/>
              </p:custDataLst>
            </p:nvPr>
          </p:nvSpPr>
          <p:spPr bwMode="auto">
            <a:xfrm>
              <a:off x="1451265" y="1250500"/>
              <a:ext cx="9060873" cy="3781076"/>
            </a:xfrm>
            <a:custGeom>
              <a:avLst/>
              <a:gdLst>
                <a:gd name="connsiteX0" fmla="*/ 0 w 9183756"/>
                <a:gd name="connsiteY0" fmla="*/ 4174435 h 4174435"/>
                <a:gd name="connsiteX1" fmla="*/ 1860605 w 9183756"/>
                <a:gd name="connsiteY1" fmla="*/ 287837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683318 w 9183756"/>
                <a:gd name="connsiteY2" fmla="*/ 2504661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544417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289975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33537 w 9183756"/>
                <a:gd name="connsiteY3" fmla="*/ 1590261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18143 w 9183756"/>
                <a:gd name="connsiteY3" fmla="*/ 1391479 h 4174435"/>
                <a:gd name="connsiteX4" fmla="*/ 9183756 w 9183756"/>
                <a:gd name="connsiteY4" fmla="*/ 0 h 4174435"/>
                <a:gd name="connsiteX0" fmla="*/ 0 w 9183756"/>
                <a:gd name="connsiteY0" fmla="*/ 4174435 h 4174435"/>
                <a:gd name="connsiteX1" fmla="*/ 1976064 w 9183756"/>
                <a:gd name="connsiteY1" fmla="*/ 2997642 h 4174435"/>
                <a:gd name="connsiteX2" fmla="*/ 4721804 w 9183756"/>
                <a:gd name="connsiteY2" fmla="*/ 2194559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10461 h 4174435"/>
                <a:gd name="connsiteX3" fmla="*/ 6979721 w 9183756"/>
                <a:gd name="connsiteY3" fmla="*/ 1447138 h 4174435"/>
                <a:gd name="connsiteX4" fmla="*/ 9183756 w 9183756"/>
                <a:gd name="connsiteY4" fmla="*/ 0 h 4174435"/>
                <a:gd name="connsiteX0" fmla="*/ 0 w 9183756"/>
                <a:gd name="connsiteY0" fmla="*/ 4174435 h 4174435"/>
                <a:gd name="connsiteX1" fmla="*/ 1976064 w 9183756"/>
                <a:gd name="connsiteY1" fmla="*/ 2997642 h 4174435"/>
                <a:gd name="connsiteX2" fmla="*/ 4429309 w 9183756"/>
                <a:gd name="connsiteY2" fmla="*/ 2274072 h 4174435"/>
                <a:gd name="connsiteX3" fmla="*/ 6979721 w 9183756"/>
                <a:gd name="connsiteY3" fmla="*/ 1447138 h 4174435"/>
                <a:gd name="connsiteX4" fmla="*/ 9183756 w 9183756"/>
                <a:gd name="connsiteY4" fmla="*/ 0 h 4174435"/>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314609"/>
                <a:gd name="connsiteY0" fmla="*/ 4516341 h 4516341"/>
                <a:gd name="connsiteX1" fmla="*/ 1976064 w 9314609"/>
                <a:gd name="connsiteY1" fmla="*/ 3339548 h 4516341"/>
                <a:gd name="connsiteX2" fmla="*/ 4429309 w 9314609"/>
                <a:gd name="connsiteY2" fmla="*/ 2615978 h 4516341"/>
                <a:gd name="connsiteX3" fmla="*/ 6979721 w 9314609"/>
                <a:gd name="connsiteY3" fmla="*/ 1789044 h 4516341"/>
                <a:gd name="connsiteX4" fmla="*/ 9314609 w 9314609"/>
                <a:gd name="connsiteY4" fmla="*/ 0 h 4516341"/>
                <a:gd name="connsiteX0" fmla="*/ 0 w 9253032"/>
                <a:gd name="connsiteY0" fmla="*/ 4572000 h 4572000"/>
                <a:gd name="connsiteX1" fmla="*/ 1976064 w 9253032"/>
                <a:gd name="connsiteY1" fmla="*/ 3395207 h 4572000"/>
                <a:gd name="connsiteX2" fmla="*/ 4429309 w 9253032"/>
                <a:gd name="connsiteY2" fmla="*/ 2671637 h 4572000"/>
                <a:gd name="connsiteX3" fmla="*/ 6979721 w 9253032"/>
                <a:gd name="connsiteY3" fmla="*/ 1844703 h 4572000"/>
                <a:gd name="connsiteX4" fmla="*/ 9253032 w 9253032"/>
                <a:gd name="connsiteY4" fmla="*/ 0 h 4572000"/>
                <a:gd name="connsiteX0" fmla="*/ 0 w 9283823"/>
                <a:gd name="connsiteY0" fmla="*/ 4572000 h 4572000"/>
                <a:gd name="connsiteX1" fmla="*/ 1976064 w 9283823"/>
                <a:gd name="connsiteY1" fmla="*/ 3395207 h 4572000"/>
                <a:gd name="connsiteX2" fmla="*/ 4429309 w 9283823"/>
                <a:gd name="connsiteY2" fmla="*/ 2671637 h 4572000"/>
                <a:gd name="connsiteX3" fmla="*/ 6979721 w 9283823"/>
                <a:gd name="connsiteY3" fmla="*/ 1844703 h 4572000"/>
                <a:gd name="connsiteX4" fmla="*/ 9283823 w 9283823"/>
                <a:gd name="connsiteY4" fmla="*/ 0 h 457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83823" h="4572000">
                  <a:moveTo>
                    <a:pt x="0" y="4572000"/>
                  </a:moveTo>
                  <a:cubicBezTo>
                    <a:pt x="540026" y="4063116"/>
                    <a:pt x="1237846" y="3711934"/>
                    <a:pt x="1976064" y="3395207"/>
                  </a:cubicBezTo>
                  <a:cubicBezTo>
                    <a:pt x="2714282" y="3078480"/>
                    <a:pt x="3556880" y="2786930"/>
                    <a:pt x="4429309" y="2671637"/>
                  </a:cubicBezTo>
                  <a:cubicBezTo>
                    <a:pt x="5301738" y="2556344"/>
                    <a:pt x="6229648" y="2262146"/>
                    <a:pt x="6979721" y="1844703"/>
                  </a:cubicBezTo>
                  <a:cubicBezTo>
                    <a:pt x="7729794" y="1427260"/>
                    <a:pt x="8572237" y="793143"/>
                    <a:pt x="9283823" y="0"/>
                  </a:cubicBezTo>
                </a:path>
              </a:pathLst>
            </a:custGeom>
            <a:noFill/>
            <a:ln w="762000" cap="flat" cmpd="dbl" algn="ctr">
              <a:solidFill>
                <a:srgbClr val="86BC25"/>
              </a:solidFill>
              <a:prstDash val="solid"/>
              <a:round/>
              <a:headEnd type="none" w="med" len="med"/>
              <a:tailEnd type="none" w="med" len="med"/>
            </a:ln>
            <a:effectLst/>
          </p:spPr>
          <p:txBody>
            <a:bodyPr rtlCol="0" anchor="ctr"/>
            <a:lstStyle/>
            <a:p>
              <a:pPr algn="ctr" defTabSz="685800">
                <a:defRPr/>
              </a:pPr>
              <a:endParaRPr lang="fr-CA" sz="1350" dirty="0">
                <a:solidFill>
                  <a:prstClr val="black"/>
                </a:solidFill>
                <a:latin typeface="Calibri"/>
                <a:cs typeface="Verdana" panose="020B0604030504040204" pitchFamily="34" charset="0"/>
              </a:endParaRPr>
            </a:p>
          </p:txBody>
        </p:sp>
        <p:sp>
          <p:nvSpPr>
            <p:cNvPr id="7" name="Rectangle 6">
              <a:extLst>
                <a:ext uri="{FF2B5EF4-FFF2-40B4-BE49-F238E27FC236}">
                  <a16:creationId xmlns:a16="http://schemas.microsoft.com/office/drawing/2014/main" id="{979194AF-2EDE-466B-9C88-7DFEB74E91A1}"/>
                </a:ext>
              </a:extLst>
            </p:cNvPr>
            <p:cNvSpPr/>
            <p:nvPr>
              <p:custDataLst>
                <p:tags r:id="rId3"/>
              </p:custDataLst>
            </p:nvPr>
          </p:nvSpPr>
          <p:spPr>
            <a:xfrm>
              <a:off x="7975833" y="1676346"/>
              <a:ext cx="1746122" cy="276999"/>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XGBoost </a:t>
              </a:r>
            </a:p>
          </p:txBody>
        </p:sp>
        <p:sp>
          <p:nvSpPr>
            <p:cNvPr id="8" name="Rectangle 7">
              <a:extLst>
                <a:ext uri="{FF2B5EF4-FFF2-40B4-BE49-F238E27FC236}">
                  <a16:creationId xmlns:a16="http://schemas.microsoft.com/office/drawing/2014/main" id="{8AECD474-D2C5-4E5F-B0DB-95193A98B3FD}"/>
                </a:ext>
              </a:extLst>
            </p:cNvPr>
            <p:cNvSpPr/>
            <p:nvPr>
              <p:custDataLst>
                <p:tags r:id="rId4"/>
              </p:custDataLst>
            </p:nvPr>
          </p:nvSpPr>
          <p:spPr>
            <a:xfrm>
              <a:off x="6075145" y="2193071"/>
              <a:ext cx="1449413" cy="276999"/>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Random Forest </a:t>
              </a:r>
            </a:p>
          </p:txBody>
        </p:sp>
        <p:sp>
          <p:nvSpPr>
            <p:cNvPr id="9" name="Rectangle 8">
              <a:extLst>
                <a:ext uri="{FF2B5EF4-FFF2-40B4-BE49-F238E27FC236}">
                  <a16:creationId xmlns:a16="http://schemas.microsoft.com/office/drawing/2014/main" id="{99723836-A1F8-4FB6-9EF9-975A33F2C584}"/>
                </a:ext>
              </a:extLst>
            </p:cNvPr>
            <p:cNvSpPr/>
            <p:nvPr>
              <p:custDataLst>
                <p:tags r:id="rId5"/>
              </p:custDataLst>
            </p:nvPr>
          </p:nvSpPr>
          <p:spPr>
            <a:xfrm>
              <a:off x="4342150" y="2560725"/>
              <a:ext cx="1620086" cy="276999"/>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Decision Tree</a:t>
              </a:r>
            </a:p>
          </p:txBody>
        </p:sp>
        <p:sp>
          <p:nvSpPr>
            <p:cNvPr id="10" name="Rectangle 9">
              <a:extLst>
                <a:ext uri="{FF2B5EF4-FFF2-40B4-BE49-F238E27FC236}">
                  <a16:creationId xmlns:a16="http://schemas.microsoft.com/office/drawing/2014/main" id="{7A0946B8-3128-463A-9235-B2A69BAF904B}"/>
                </a:ext>
              </a:extLst>
            </p:cNvPr>
            <p:cNvSpPr/>
            <p:nvPr>
              <p:custDataLst>
                <p:tags r:id="rId6"/>
              </p:custDataLst>
            </p:nvPr>
          </p:nvSpPr>
          <p:spPr>
            <a:xfrm>
              <a:off x="2674801" y="3222828"/>
              <a:ext cx="1494050" cy="276999"/>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Logistic Regression </a:t>
              </a:r>
            </a:p>
          </p:txBody>
        </p:sp>
        <p:sp>
          <p:nvSpPr>
            <p:cNvPr id="11" name="AutoShape 117">
              <a:extLst>
                <a:ext uri="{FF2B5EF4-FFF2-40B4-BE49-F238E27FC236}">
                  <a16:creationId xmlns:a16="http://schemas.microsoft.com/office/drawing/2014/main" id="{2EF68954-D221-457B-9936-F7D455DFE6F3}"/>
                </a:ext>
              </a:extLst>
            </p:cNvPr>
            <p:cNvSpPr>
              <a:spLocks noChangeAspect="1" noChangeArrowheads="1" noTextEdit="1"/>
            </p:cNvSpPr>
            <p:nvPr>
              <p:custDataLst>
                <p:tags r:id="rId7"/>
              </p:custDataLst>
            </p:nvPr>
          </p:nvSpPr>
          <p:spPr bwMode="auto">
            <a:xfrm>
              <a:off x="2383158" y="1408040"/>
              <a:ext cx="6475092" cy="3320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350" dirty="0">
                <a:solidFill>
                  <a:prstClr val="black"/>
                </a:solidFill>
                <a:latin typeface="Calibri"/>
                <a:cs typeface="Verdana" panose="020B0604030504040204" pitchFamily="34" charset="0"/>
              </a:endParaRPr>
            </a:p>
          </p:txBody>
        </p:sp>
        <p:sp>
          <p:nvSpPr>
            <p:cNvPr id="12" name="Freeform 120">
              <a:extLst>
                <a:ext uri="{FF2B5EF4-FFF2-40B4-BE49-F238E27FC236}">
                  <a16:creationId xmlns:a16="http://schemas.microsoft.com/office/drawing/2014/main" id="{7BCD2CF6-5479-4C60-BCEB-89E8BEE1AA5F}"/>
                </a:ext>
              </a:extLst>
            </p:cNvPr>
            <p:cNvSpPr>
              <a:spLocks/>
            </p:cNvSpPr>
            <p:nvPr>
              <p:custDataLst>
                <p:tags r:id="rId8"/>
              </p:custDataLst>
            </p:nvPr>
          </p:nvSpPr>
          <p:spPr bwMode="auto">
            <a:xfrm>
              <a:off x="6214311" y="2773130"/>
              <a:ext cx="651185" cy="866497"/>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Lst>
              <a:ahLst/>
              <a:cxnLst>
                <a:cxn ang="0">
                  <a:pos x="T0" y="T1"/>
                </a:cxn>
                <a:cxn ang="0">
                  <a:pos x="T2" y="T3"/>
                </a:cxn>
                <a:cxn ang="0">
                  <a:pos x="T4" y="T5"/>
                </a:cxn>
                <a:cxn ang="0">
                  <a:pos x="T6" y="T7"/>
                </a:cxn>
                <a:cxn ang="0">
                  <a:pos x="T8" y="T9"/>
                </a:cxn>
                <a:cxn ang="0">
                  <a:pos x="T10" y="T11"/>
                </a:cxn>
              </a:cxnLst>
              <a:rect l="0" t="0" r="r" b="b"/>
              <a:pathLst>
                <a:path w="496" h="660">
                  <a:moveTo>
                    <a:pt x="0" y="656"/>
                  </a:moveTo>
                  <a:lnTo>
                    <a:pt x="0" y="0"/>
                  </a:lnTo>
                  <a:lnTo>
                    <a:pt x="170" y="0"/>
                  </a:lnTo>
                  <a:lnTo>
                    <a:pt x="496" y="325"/>
                  </a:lnTo>
                  <a:lnTo>
                    <a:pt x="180" y="656"/>
                  </a:lnTo>
                  <a:lnTo>
                    <a:pt x="0" y="6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grpSp>
          <p:nvGrpSpPr>
            <p:cNvPr id="13" name="Group 12">
              <a:extLst>
                <a:ext uri="{FF2B5EF4-FFF2-40B4-BE49-F238E27FC236}">
                  <a16:creationId xmlns:a16="http://schemas.microsoft.com/office/drawing/2014/main" id="{76D46CE1-CE66-4CBC-B04F-3C446CB35EBF}"/>
                </a:ext>
              </a:extLst>
            </p:cNvPr>
            <p:cNvGrpSpPr/>
            <p:nvPr>
              <p:custDataLst>
                <p:tags r:id="rId9"/>
              </p:custDataLst>
            </p:nvPr>
          </p:nvGrpSpPr>
          <p:grpSpPr>
            <a:xfrm rot="21135114">
              <a:off x="6184761" y="2595893"/>
              <a:ext cx="651186" cy="866497"/>
              <a:chOff x="4953000" y="3322359"/>
              <a:chExt cx="787401" cy="1047750"/>
            </a:xfrm>
          </p:grpSpPr>
          <p:sp>
            <p:nvSpPr>
              <p:cNvPr id="14" name="Freeform 119">
                <a:extLst>
                  <a:ext uri="{FF2B5EF4-FFF2-40B4-BE49-F238E27FC236}">
                    <a16:creationId xmlns:a16="http://schemas.microsoft.com/office/drawing/2014/main" id="{44C4B3F0-D1A6-4C20-84E8-E0FFCB250F79}"/>
                  </a:ext>
                </a:extLst>
              </p:cNvPr>
              <p:cNvSpPr>
                <a:spLocks/>
              </p:cNvSpPr>
              <p:nvPr/>
            </p:nvSpPr>
            <p:spPr bwMode="auto">
              <a:xfrm>
                <a:off x="4953000" y="3322359"/>
                <a:ext cx="787400" cy="1047750"/>
              </a:xfrm>
              <a:custGeom>
                <a:avLst/>
                <a:gdLst>
                  <a:gd name="T0" fmla="*/ 0 w 496"/>
                  <a:gd name="T1" fmla="*/ 656 h 660"/>
                  <a:gd name="T2" fmla="*/ 0 w 496"/>
                  <a:gd name="T3" fmla="*/ 0 h 660"/>
                  <a:gd name="T4" fmla="*/ 170 w 496"/>
                  <a:gd name="T5" fmla="*/ 0 h 660"/>
                  <a:gd name="T6" fmla="*/ 496 w 496"/>
                  <a:gd name="T7" fmla="*/ 325 h 660"/>
                  <a:gd name="T8" fmla="*/ 180 w 496"/>
                  <a:gd name="T9" fmla="*/ 656 h 660"/>
                  <a:gd name="T10" fmla="*/ 0 w 496"/>
                  <a:gd name="T11" fmla="*/ 660 h 660"/>
                  <a:gd name="T12" fmla="*/ 0 w 496"/>
                  <a:gd name="T13" fmla="*/ 656 h 660"/>
                </a:gdLst>
                <a:ahLst/>
                <a:cxnLst>
                  <a:cxn ang="0">
                    <a:pos x="T0" y="T1"/>
                  </a:cxn>
                  <a:cxn ang="0">
                    <a:pos x="T2" y="T3"/>
                  </a:cxn>
                  <a:cxn ang="0">
                    <a:pos x="T4" y="T5"/>
                  </a:cxn>
                  <a:cxn ang="0">
                    <a:pos x="T6" y="T7"/>
                  </a:cxn>
                  <a:cxn ang="0">
                    <a:pos x="T8" y="T9"/>
                  </a:cxn>
                  <a:cxn ang="0">
                    <a:pos x="T10" y="T11"/>
                  </a:cxn>
                  <a:cxn ang="0">
                    <a:pos x="T12" y="T13"/>
                  </a:cxn>
                </a:cxnLst>
                <a:rect l="0" t="0" r="r" b="b"/>
                <a:pathLst>
                  <a:path w="496" h="660">
                    <a:moveTo>
                      <a:pt x="0" y="656"/>
                    </a:moveTo>
                    <a:lnTo>
                      <a:pt x="0" y="0"/>
                    </a:lnTo>
                    <a:lnTo>
                      <a:pt x="170" y="0"/>
                    </a:lnTo>
                    <a:lnTo>
                      <a:pt x="496" y="325"/>
                    </a:lnTo>
                    <a:lnTo>
                      <a:pt x="180" y="656"/>
                    </a:lnTo>
                    <a:lnTo>
                      <a:pt x="0" y="660"/>
                    </a:lnTo>
                    <a:lnTo>
                      <a:pt x="0" y="656"/>
                    </a:lnTo>
                    <a:close/>
                  </a:path>
                </a:pathLst>
              </a:custGeom>
              <a:solidFill>
                <a:srgbClr val="B1D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15" name="Freeform 121">
                <a:extLst>
                  <a:ext uri="{FF2B5EF4-FFF2-40B4-BE49-F238E27FC236}">
                    <a16:creationId xmlns:a16="http://schemas.microsoft.com/office/drawing/2014/main" id="{3A32FC83-3C41-402D-A2AD-DDABC77F9E34}"/>
                  </a:ext>
                </a:extLst>
              </p:cNvPr>
              <p:cNvSpPr>
                <a:spLocks/>
              </p:cNvSpPr>
              <p:nvPr/>
            </p:nvSpPr>
            <p:spPr bwMode="auto">
              <a:xfrm>
                <a:off x="5214938" y="3330297"/>
                <a:ext cx="525463" cy="1033462"/>
              </a:xfrm>
              <a:custGeom>
                <a:avLst/>
                <a:gdLst>
                  <a:gd name="T0" fmla="*/ 13 w 331"/>
                  <a:gd name="T1" fmla="*/ 651 h 651"/>
                  <a:gd name="T2" fmla="*/ 13 w 331"/>
                  <a:gd name="T3" fmla="*/ 507 h 651"/>
                  <a:gd name="T4" fmla="*/ 174 w 331"/>
                  <a:gd name="T5" fmla="*/ 326 h 651"/>
                  <a:gd name="T6" fmla="*/ 0 w 331"/>
                  <a:gd name="T7" fmla="*/ 156 h 651"/>
                  <a:gd name="T8" fmla="*/ 0 w 331"/>
                  <a:gd name="T9" fmla="*/ 0 h 651"/>
                  <a:gd name="T10" fmla="*/ 331 w 331"/>
                  <a:gd name="T11" fmla="*/ 326 h 651"/>
                  <a:gd name="T12" fmla="*/ 13 w 331"/>
                  <a:gd name="T13" fmla="*/ 651 h 651"/>
                  <a:gd name="T14" fmla="*/ 13 w 331"/>
                  <a:gd name="T15" fmla="*/ 651 h 6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651">
                    <a:moveTo>
                      <a:pt x="13" y="651"/>
                    </a:moveTo>
                    <a:lnTo>
                      <a:pt x="13" y="507"/>
                    </a:lnTo>
                    <a:lnTo>
                      <a:pt x="174" y="326"/>
                    </a:lnTo>
                    <a:lnTo>
                      <a:pt x="0" y="156"/>
                    </a:lnTo>
                    <a:lnTo>
                      <a:pt x="0" y="0"/>
                    </a:lnTo>
                    <a:lnTo>
                      <a:pt x="331" y="326"/>
                    </a:lnTo>
                    <a:lnTo>
                      <a:pt x="13" y="651"/>
                    </a:lnTo>
                    <a:lnTo>
                      <a:pt x="13" y="65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grpSp>
        <p:sp>
          <p:nvSpPr>
            <p:cNvPr id="16" name="Rectangle 122">
              <a:extLst>
                <a:ext uri="{FF2B5EF4-FFF2-40B4-BE49-F238E27FC236}">
                  <a16:creationId xmlns:a16="http://schemas.microsoft.com/office/drawing/2014/main" id="{36130F71-7ADE-45BD-8F81-67AFAB4B265D}"/>
                </a:ext>
              </a:extLst>
            </p:cNvPr>
            <p:cNvSpPr>
              <a:spLocks noChangeArrowheads="1"/>
            </p:cNvSpPr>
            <p:nvPr>
              <p:custDataLst>
                <p:tags r:id="rId10"/>
              </p:custDataLst>
            </p:nvPr>
          </p:nvSpPr>
          <p:spPr bwMode="auto">
            <a:xfrm>
              <a:off x="5899218" y="2154765"/>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685800" fontAlgn="base">
                <a:spcBef>
                  <a:spcPct val="0"/>
                </a:spcBef>
                <a:spcAft>
                  <a:spcPct val="0"/>
                </a:spcAft>
                <a:defRPr/>
              </a:pPr>
              <a:r>
                <a:rPr lang="fr-CA" sz="1200" b="1" dirty="0">
                  <a:solidFill>
                    <a:srgbClr val="86BC25"/>
                  </a:solidFill>
                  <a:latin typeface="Calibri"/>
                  <a:cs typeface="Verdana" panose="020B0604030504040204" pitchFamily="34" charset="0"/>
                </a:rPr>
                <a:t>3.</a:t>
              </a:r>
              <a:endParaRPr lang="fr-CA" sz="1200" dirty="0">
                <a:solidFill>
                  <a:srgbClr val="86BC25"/>
                </a:solidFill>
                <a:latin typeface="Calibri"/>
                <a:cs typeface="Verdana" panose="020B0604030504040204" pitchFamily="34" charset="0"/>
              </a:endParaRPr>
            </a:p>
          </p:txBody>
        </p:sp>
        <p:sp>
          <p:nvSpPr>
            <p:cNvPr id="17" name="Rectangle 123">
              <a:extLst>
                <a:ext uri="{FF2B5EF4-FFF2-40B4-BE49-F238E27FC236}">
                  <a16:creationId xmlns:a16="http://schemas.microsoft.com/office/drawing/2014/main" id="{AD0A6879-2F53-45E6-91BD-4906244FEA9C}"/>
                </a:ext>
              </a:extLst>
            </p:cNvPr>
            <p:cNvSpPr>
              <a:spLocks noChangeArrowheads="1"/>
            </p:cNvSpPr>
            <p:nvPr>
              <p:custDataLst>
                <p:tags r:id="rId11"/>
              </p:custDataLst>
            </p:nvPr>
          </p:nvSpPr>
          <p:spPr bwMode="auto">
            <a:xfrm>
              <a:off x="7761835" y="1645688"/>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685800" fontAlgn="base">
                <a:spcBef>
                  <a:spcPct val="0"/>
                </a:spcBef>
                <a:spcAft>
                  <a:spcPct val="0"/>
                </a:spcAft>
                <a:defRPr/>
              </a:pPr>
              <a:r>
                <a:rPr lang="fr-CA" sz="1200" b="1" dirty="0">
                  <a:solidFill>
                    <a:srgbClr val="86BC25"/>
                  </a:solidFill>
                  <a:latin typeface="Calibri"/>
                  <a:cs typeface="Verdana" panose="020B0604030504040204" pitchFamily="34" charset="0"/>
                </a:rPr>
                <a:t>4.</a:t>
              </a:r>
              <a:endParaRPr lang="fr-CA" sz="1200" dirty="0">
                <a:solidFill>
                  <a:srgbClr val="86BC25"/>
                </a:solidFill>
                <a:latin typeface="Calibri"/>
                <a:cs typeface="Verdana" panose="020B0604030504040204" pitchFamily="34" charset="0"/>
              </a:endParaRPr>
            </a:p>
          </p:txBody>
        </p:sp>
        <p:sp>
          <p:nvSpPr>
            <p:cNvPr id="18" name="Freeform 124">
              <a:extLst>
                <a:ext uri="{FF2B5EF4-FFF2-40B4-BE49-F238E27FC236}">
                  <a16:creationId xmlns:a16="http://schemas.microsoft.com/office/drawing/2014/main" id="{E0D7A425-A48B-4EA1-8F82-C462A978B205}"/>
                </a:ext>
              </a:extLst>
            </p:cNvPr>
            <p:cNvSpPr>
              <a:spLocks/>
            </p:cNvSpPr>
            <p:nvPr>
              <p:custDataLst>
                <p:tags r:id="rId12"/>
              </p:custDataLst>
            </p:nvPr>
          </p:nvSpPr>
          <p:spPr bwMode="auto">
            <a:xfrm>
              <a:off x="2731255" y="3521347"/>
              <a:ext cx="795602" cy="79035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19" name="Freeform 125">
              <a:extLst>
                <a:ext uri="{FF2B5EF4-FFF2-40B4-BE49-F238E27FC236}">
                  <a16:creationId xmlns:a16="http://schemas.microsoft.com/office/drawing/2014/main" id="{2C6D883F-9675-4A1B-AD97-882EB211E3DF}"/>
                </a:ext>
              </a:extLst>
            </p:cNvPr>
            <p:cNvSpPr>
              <a:spLocks/>
            </p:cNvSpPr>
            <p:nvPr>
              <p:custDataLst>
                <p:tags r:id="rId13"/>
              </p:custDataLst>
            </p:nvPr>
          </p:nvSpPr>
          <p:spPr bwMode="auto">
            <a:xfrm>
              <a:off x="2731255" y="3521347"/>
              <a:ext cx="795602" cy="790350"/>
            </a:xfrm>
            <a:custGeom>
              <a:avLst/>
              <a:gdLst>
                <a:gd name="T0" fmla="*/ 0 w 606"/>
                <a:gd name="T1" fmla="*/ 0 h 602"/>
                <a:gd name="T2" fmla="*/ 0 w 606"/>
                <a:gd name="T3" fmla="*/ 602 h 602"/>
                <a:gd name="T4" fmla="*/ 606 w 606"/>
                <a:gd name="T5" fmla="*/ 602 h 602"/>
                <a:gd name="T6" fmla="*/ 606 w 606"/>
                <a:gd name="T7" fmla="*/ 0 h 602"/>
                <a:gd name="T8" fmla="*/ 0 w 606"/>
                <a:gd name="T9" fmla="*/ 0 h 602"/>
                <a:gd name="T10" fmla="*/ 0 w 606"/>
                <a:gd name="T11" fmla="*/ 0 h 602"/>
              </a:gdLst>
              <a:ahLst/>
              <a:cxnLst>
                <a:cxn ang="0">
                  <a:pos x="T0" y="T1"/>
                </a:cxn>
                <a:cxn ang="0">
                  <a:pos x="T2" y="T3"/>
                </a:cxn>
                <a:cxn ang="0">
                  <a:pos x="T4" y="T5"/>
                </a:cxn>
                <a:cxn ang="0">
                  <a:pos x="T6" y="T7"/>
                </a:cxn>
                <a:cxn ang="0">
                  <a:pos x="T8" y="T9"/>
                </a:cxn>
                <a:cxn ang="0">
                  <a:pos x="T10" y="T11"/>
                </a:cxn>
              </a:cxnLst>
              <a:rect l="0" t="0" r="r" b="b"/>
              <a:pathLst>
                <a:path w="606" h="602">
                  <a:moveTo>
                    <a:pt x="0" y="0"/>
                  </a:moveTo>
                  <a:lnTo>
                    <a:pt x="0" y="602"/>
                  </a:lnTo>
                  <a:lnTo>
                    <a:pt x="606" y="602"/>
                  </a:lnTo>
                  <a:lnTo>
                    <a:pt x="606"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0" name="Rectangle 126">
              <a:extLst>
                <a:ext uri="{FF2B5EF4-FFF2-40B4-BE49-F238E27FC236}">
                  <a16:creationId xmlns:a16="http://schemas.microsoft.com/office/drawing/2014/main" id="{752AC34B-E4AF-4EE5-BEC5-28CE785FD42E}"/>
                </a:ext>
              </a:extLst>
            </p:cNvPr>
            <p:cNvSpPr>
              <a:spLocks noChangeArrowheads="1"/>
            </p:cNvSpPr>
            <p:nvPr>
              <p:custDataLst>
                <p:tags r:id="rId14"/>
              </p:custDataLst>
            </p:nvPr>
          </p:nvSpPr>
          <p:spPr bwMode="auto">
            <a:xfrm>
              <a:off x="2496250" y="3163052"/>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685800" fontAlgn="base">
                <a:spcBef>
                  <a:spcPct val="0"/>
                </a:spcBef>
                <a:spcAft>
                  <a:spcPct val="0"/>
                </a:spcAft>
                <a:defRPr/>
              </a:pPr>
              <a:r>
                <a:rPr lang="fr-CA" sz="1200" b="1" dirty="0">
                  <a:solidFill>
                    <a:srgbClr val="86BC25"/>
                  </a:solidFill>
                  <a:latin typeface="Calibri"/>
                  <a:cs typeface="Verdana" panose="020B0604030504040204" pitchFamily="34" charset="0"/>
                </a:rPr>
                <a:t>1.</a:t>
              </a:r>
              <a:endParaRPr lang="fr-CA" sz="1200" dirty="0">
                <a:solidFill>
                  <a:srgbClr val="86BC25"/>
                </a:solidFill>
                <a:latin typeface="Calibri"/>
                <a:cs typeface="Verdana" panose="020B0604030504040204" pitchFamily="34" charset="0"/>
              </a:endParaRPr>
            </a:p>
          </p:txBody>
        </p:sp>
        <p:sp>
          <p:nvSpPr>
            <p:cNvPr id="21" name="Freeform 127">
              <a:extLst>
                <a:ext uri="{FF2B5EF4-FFF2-40B4-BE49-F238E27FC236}">
                  <a16:creationId xmlns:a16="http://schemas.microsoft.com/office/drawing/2014/main" id="{22ADBE73-5A4E-4715-A583-63FA457EBB5F}"/>
                </a:ext>
              </a:extLst>
            </p:cNvPr>
            <p:cNvSpPr>
              <a:spLocks/>
            </p:cNvSpPr>
            <p:nvPr>
              <p:custDataLst>
                <p:tags r:id="rId15"/>
              </p:custDataLst>
            </p:nvPr>
          </p:nvSpPr>
          <p:spPr bwMode="auto">
            <a:xfrm>
              <a:off x="4402542" y="2980563"/>
              <a:ext cx="620990" cy="808730"/>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2" name="Freeform 128">
              <a:extLst>
                <a:ext uri="{FF2B5EF4-FFF2-40B4-BE49-F238E27FC236}">
                  <a16:creationId xmlns:a16="http://schemas.microsoft.com/office/drawing/2014/main" id="{4B7FEB50-6EF2-47D3-8CB5-37CDC84068EC}"/>
                </a:ext>
              </a:extLst>
            </p:cNvPr>
            <p:cNvSpPr>
              <a:spLocks/>
            </p:cNvSpPr>
            <p:nvPr>
              <p:custDataLst>
                <p:tags r:id="rId16"/>
              </p:custDataLst>
            </p:nvPr>
          </p:nvSpPr>
          <p:spPr bwMode="auto">
            <a:xfrm>
              <a:off x="4402542" y="2980563"/>
              <a:ext cx="620990" cy="808730"/>
            </a:xfrm>
            <a:custGeom>
              <a:avLst/>
              <a:gdLst>
                <a:gd name="T0" fmla="*/ 0 w 473"/>
                <a:gd name="T1" fmla="*/ 0 h 616"/>
                <a:gd name="T2" fmla="*/ 0 w 473"/>
                <a:gd name="T3" fmla="*/ 616 h 616"/>
                <a:gd name="T4" fmla="*/ 473 w 473"/>
                <a:gd name="T5" fmla="*/ 616 h 616"/>
                <a:gd name="T6" fmla="*/ 473 w 473"/>
                <a:gd name="T7" fmla="*/ 0 h 616"/>
                <a:gd name="T8" fmla="*/ 0 w 473"/>
                <a:gd name="T9" fmla="*/ 0 h 616"/>
                <a:gd name="T10" fmla="*/ 0 w 473"/>
                <a:gd name="T11" fmla="*/ 0 h 616"/>
              </a:gdLst>
              <a:ahLst/>
              <a:cxnLst>
                <a:cxn ang="0">
                  <a:pos x="T0" y="T1"/>
                </a:cxn>
                <a:cxn ang="0">
                  <a:pos x="T2" y="T3"/>
                </a:cxn>
                <a:cxn ang="0">
                  <a:pos x="T4" y="T5"/>
                </a:cxn>
                <a:cxn ang="0">
                  <a:pos x="T6" y="T7"/>
                </a:cxn>
                <a:cxn ang="0">
                  <a:pos x="T8" y="T9"/>
                </a:cxn>
                <a:cxn ang="0">
                  <a:pos x="T10" y="T11"/>
                </a:cxn>
              </a:cxnLst>
              <a:rect l="0" t="0" r="r" b="b"/>
              <a:pathLst>
                <a:path w="473" h="616">
                  <a:moveTo>
                    <a:pt x="0" y="0"/>
                  </a:moveTo>
                  <a:lnTo>
                    <a:pt x="0" y="616"/>
                  </a:lnTo>
                  <a:lnTo>
                    <a:pt x="473" y="616"/>
                  </a:lnTo>
                  <a:lnTo>
                    <a:pt x="473" y="0"/>
                  </a:lnTo>
                  <a:lnTo>
                    <a:pt x="0" y="0"/>
                  </a:lnTo>
                  <a:lnTo>
                    <a:pt x="0" y="0"/>
                  </a:lnTo>
                  <a:close/>
                </a:path>
              </a:pathLst>
            </a:custGeom>
            <a:noFill/>
            <a:ln w="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3" name="Freeform 129">
              <a:extLst>
                <a:ext uri="{FF2B5EF4-FFF2-40B4-BE49-F238E27FC236}">
                  <a16:creationId xmlns:a16="http://schemas.microsoft.com/office/drawing/2014/main" id="{BB4FECCF-212B-435E-8F30-B30AC59B3325}"/>
                </a:ext>
              </a:extLst>
            </p:cNvPr>
            <p:cNvSpPr>
              <a:spLocks/>
            </p:cNvSpPr>
            <p:nvPr>
              <p:custDataLst>
                <p:tags r:id="rId17"/>
              </p:custDataLst>
            </p:nvPr>
          </p:nvSpPr>
          <p:spPr bwMode="auto">
            <a:xfrm>
              <a:off x="4397291" y="2980564"/>
              <a:ext cx="221876" cy="854681"/>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 name="T10" fmla="*/ 0 w 169"/>
                <a:gd name="T11" fmla="*/ 0 h 651"/>
              </a:gdLst>
              <a:ahLst/>
              <a:cxnLst>
                <a:cxn ang="0">
                  <a:pos x="T0" y="T1"/>
                </a:cxn>
                <a:cxn ang="0">
                  <a:pos x="T2" y="T3"/>
                </a:cxn>
                <a:cxn ang="0">
                  <a:pos x="T4" y="T5"/>
                </a:cxn>
                <a:cxn ang="0">
                  <a:pos x="T6" y="T7"/>
                </a:cxn>
                <a:cxn ang="0">
                  <a:pos x="T8" y="T9"/>
                </a:cxn>
                <a:cxn ang="0">
                  <a:pos x="T10" y="T11"/>
                </a:cxn>
              </a:cxnLst>
              <a:rect l="0" t="0" r="r" b="b"/>
              <a:pathLst>
                <a:path w="169" h="651">
                  <a:moveTo>
                    <a:pt x="0" y="0"/>
                  </a:moveTo>
                  <a:lnTo>
                    <a:pt x="165" y="33"/>
                  </a:lnTo>
                  <a:lnTo>
                    <a:pt x="169" y="651"/>
                  </a:lnTo>
                  <a:lnTo>
                    <a:pt x="0" y="612"/>
                  </a:lnTo>
                  <a:lnTo>
                    <a:pt x="0" y="4"/>
                  </a:lnTo>
                  <a:lnTo>
                    <a:pt x="0"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4" name="Freeform 130">
              <a:extLst>
                <a:ext uri="{FF2B5EF4-FFF2-40B4-BE49-F238E27FC236}">
                  <a16:creationId xmlns:a16="http://schemas.microsoft.com/office/drawing/2014/main" id="{3B33CF3C-523E-4265-BC07-95B8EE1166CA}"/>
                </a:ext>
              </a:extLst>
            </p:cNvPr>
            <p:cNvSpPr>
              <a:spLocks/>
            </p:cNvSpPr>
            <p:nvPr>
              <p:custDataLst>
                <p:tags r:id="rId18"/>
              </p:custDataLst>
            </p:nvPr>
          </p:nvSpPr>
          <p:spPr bwMode="auto">
            <a:xfrm>
              <a:off x="4397291" y="2980564"/>
              <a:ext cx="221876" cy="854681"/>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5" name="Freeform 131">
              <a:extLst>
                <a:ext uri="{FF2B5EF4-FFF2-40B4-BE49-F238E27FC236}">
                  <a16:creationId xmlns:a16="http://schemas.microsoft.com/office/drawing/2014/main" id="{E7733B74-3B50-4BCD-8CA9-296174C322BD}"/>
                </a:ext>
              </a:extLst>
            </p:cNvPr>
            <p:cNvSpPr>
              <a:spLocks/>
            </p:cNvSpPr>
            <p:nvPr>
              <p:custDataLst>
                <p:tags r:id="rId19"/>
              </p:custDataLst>
            </p:nvPr>
          </p:nvSpPr>
          <p:spPr bwMode="auto">
            <a:xfrm>
              <a:off x="4397291" y="2980564"/>
              <a:ext cx="221876" cy="854681"/>
            </a:xfrm>
            <a:custGeom>
              <a:avLst/>
              <a:gdLst>
                <a:gd name="T0" fmla="*/ 0 w 169"/>
                <a:gd name="T1" fmla="*/ 0 h 651"/>
                <a:gd name="T2" fmla="*/ 165 w 169"/>
                <a:gd name="T3" fmla="*/ 33 h 651"/>
                <a:gd name="T4" fmla="*/ 169 w 169"/>
                <a:gd name="T5" fmla="*/ 651 h 651"/>
                <a:gd name="T6" fmla="*/ 0 w 169"/>
                <a:gd name="T7" fmla="*/ 612 h 651"/>
                <a:gd name="T8" fmla="*/ 0 w 169"/>
                <a:gd name="T9" fmla="*/ 4 h 651"/>
              </a:gdLst>
              <a:ahLst/>
              <a:cxnLst>
                <a:cxn ang="0">
                  <a:pos x="T0" y="T1"/>
                </a:cxn>
                <a:cxn ang="0">
                  <a:pos x="T2" y="T3"/>
                </a:cxn>
                <a:cxn ang="0">
                  <a:pos x="T4" y="T5"/>
                </a:cxn>
                <a:cxn ang="0">
                  <a:pos x="T6" y="T7"/>
                </a:cxn>
                <a:cxn ang="0">
                  <a:pos x="T8" y="T9"/>
                </a:cxn>
              </a:cxnLst>
              <a:rect l="0" t="0" r="r" b="b"/>
              <a:pathLst>
                <a:path w="169" h="651">
                  <a:moveTo>
                    <a:pt x="0" y="0"/>
                  </a:moveTo>
                  <a:lnTo>
                    <a:pt x="165" y="33"/>
                  </a:lnTo>
                  <a:lnTo>
                    <a:pt x="169" y="651"/>
                  </a:lnTo>
                  <a:lnTo>
                    <a:pt x="0" y="612"/>
                  </a:lnTo>
                  <a:lnTo>
                    <a:pt x="0" y="4"/>
                  </a:lnTo>
                </a:path>
              </a:pathLst>
            </a:custGeom>
            <a:solidFill>
              <a:schemeClr val="accent1"/>
            </a:solidFill>
            <a:ln w="3" cap="flat">
              <a:solidFill>
                <a:srgbClr val="FFFFFF"/>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6" name="Rectangle 132">
              <a:extLst>
                <a:ext uri="{FF2B5EF4-FFF2-40B4-BE49-F238E27FC236}">
                  <a16:creationId xmlns:a16="http://schemas.microsoft.com/office/drawing/2014/main" id="{53CEEE82-62B3-4C77-800B-8757535CEE48}"/>
                </a:ext>
              </a:extLst>
            </p:cNvPr>
            <p:cNvSpPr>
              <a:spLocks noChangeArrowheads="1"/>
            </p:cNvSpPr>
            <p:nvPr>
              <p:custDataLst>
                <p:tags r:id="rId20"/>
              </p:custDataLst>
            </p:nvPr>
          </p:nvSpPr>
          <p:spPr bwMode="auto">
            <a:xfrm>
              <a:off x="4066262" y="2532872"/>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685800" fontAlgn="base">
                <a:spcBef>
                  <a:spcPct val="0"/>
                </a:spcBef>
                <a:spcAft>
                  <a:spcPct val="0"/>
                </a:spcAft>
                <a:defRPr/>
              </a:pPr>
              <a:r>
                <a:rPr lang="fr-CA" sz="1200" b="1" dirty="0">
                  <a:solidFill>
                    <a:srgbClr val="86BC25"/>
                  </a:solidFill>
                  <a:latin typeface="Calibri"/>
                  <a:cs typeface="Verdana" panose="020B0604030504040204" pitchFamily="34" charset="0"/>
                </a:rPr>
                <a:t>2.</a:t>
              </a:r>
              <a:endParaRPr lang="fr-CA" sz="1200" dirty="0">
                <a:solidFill>
                  <a:srgbClr val="86BC25"/>
                </a:solidFill>
                <a:latin typeface="Calibri"/>
                <a:cs typeface="Verdana" panose="020B0604030504040204" pitchFamily="34" charset="0"/>
              </a:endParaRPr>
            </a:p>
          </p:txBody>
        </p:sp>
        <p:grpSp>
          <p:nvGrpSpPr>
            <p:cNvPr id="27" name="Group 26">
              <a:extLst>
                <a:ext uri="{FF2B5EF4-FFF2-40B4-BE49-F238E27FC236}">
                  <a16:creationId xmlns:a16="http://schemas.microsoft.com/office/drawing/2014/main" id="{1B1A7754-6EAE-4364-AD7F-38E8BFE1C8DC}"/>
                </a:ext>
              </a:extLst>
            </p:cNvPr>
            <p:cNvGrpSpPr/>
            <p:nvPr>
              <p:custDataLst>
                <p:tags r:id="rId21"/>
              </p:custDataLst>
            </p:nvPr>
          </p:nvGrpSpPr>
          <p:grpSpPr>
            <a:xfrm>
              <a:off x="8045507" y="1972058"/>
              <a:ext cx="958399" cy="1142200"/>
              <a:chOff x="6638925" y="1969809"/>
              <a:chExt cx="1158876" cy="1381125"/>
            </a:xfrm>
          </p:grpSpPr>
          <p:sp>
            <p:nvSpPr>
              <p:cNvPr id="28" name="Freeform 133">
                <a:extLst>
                  <a:ext uri="{FF2B5EF4-FFF2-40B4-BE49-F238E27FC236}">
                    <a16:creationId xmlns:a16="http://schemas.microsoft.com/office/drawing/2014/main" id="{A7588C35-8019-4CDB-B846-F384C7884D89}"/>
                  </a:ext>
                </a:extLst>
              </p:cNvPr>
              <p:cNvSpPr>
                <a:spLocks/>
              </p:cNvSpPr>
              <p:nvPr/>
            </p:nvSpPr>
            <p:spPr bwMode="auto">
              <a:xfrm>
                <a:off x="7008813" y="2623859"/>
                <a:ext cx="111125" cy="169862"/>
              </a:xfrm>
              <a:custGeom>
                <a:avLst/>
                <a:gdLst>
                  <a:gd name="T0" fmla="*/ 0 w 70"/>
                  <a:gd name="T1" fmla="*/ 107 h 107"/>
                  <a:gd name="T2" fmla="*/ 70 w 70"/>
                  <a:gd name="T3" fmla="*/ 39 h 107"/>
                  <a:gd name="T4" fmla="*/ 35 w 70"/>
                  <a:gd name="T5" fmla="*/ 0 h 107"/>
                  <a:gd name="T6" fmla="*/ 0 w 70"/>
                  <a:gd name="T7" fmla="*/ 107 h 107"/>
                  <a:gd name="T8" fmla="*/ 0 w 70"/>
                  <a:gd name="T9" fmla="*/ 107 h 107"/>
                </a:gdLst>
                <a:ahLst/>
                <a:cxnLst>
                  <a:cxn ang="0">
                    <a:pos x="T0" y="T1"/>
                  </a:cxn>
                  <a:cxn ang="0">
                    <a:pos x="T2" y="T3"/>
                  </a:cxn>
                  <a:cxn ang="0">
                    <a:pos x="T4" y="T5"/>
                  </a:cxn>
                  <a:cxn ang="0">
                    <a:pos x="T6" y="T7"/>
                  </a:cxn>
                  <a:cxn ang="0">
                    <a:pos x="T8" y="T9"/>
                  </a:cxn>
                </a:cxnLst>
                <a:rect l="0" t="0" r="r" b="b"/>
                <a:pathLst>
                  <a:path w="70" h="107">
                    <a:moveTo>
                      <a:pt x="0" y="107"/>
                    </a:moveTo>
                    <a:lnTo>
                      <a:pt x="70" y="39"/>
                    </a:lnTo>
                    <a:lnTo>
                      <a:pt x="35" y="0"/>
                    </a:lnTo>
                    <a:lnTo>
                      <a:pt x="0" y="107"/>
                    </a:lnTo>
                    <a:lnTo>
                      <a:pt x="0" y="107"/>
                    </a:lnTo>
                    <a:close/>
                  </a:path>
                </a:pathLst>
              </a:custGeom>
              <a:solidFill>
                <a:srgbClr val="98AA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29" name="Freeform 134">
                <a:extLst>
                  <a:ext uri="{FF2B5EF4-FFF2-40B4-BE49-F238E27FC236}">
                    <a16:creationId xmlns:a16="http://schemas.microsoft.com/office/drawing/2014/main" id="{E228C174-738B-4A55-939E-AE32859ED6C8}"/>
                  </a:ext>
                </a:extLst>
              </p:cNvPr>
              <p:cNvSpPr>
                <a:spLocks/>
              </p:cNvSpPr>
              <p:nvPr/>
            </p:nvSpPr>
            <p:spPr bwMode="auto">
              <a:xfrm>
                <a:off x="6638925" y="1971397"/>
                <a:ext cx="1158875" cy="593725"/>
              </a:xfrm>
              <a:custGeom>
                <a:avLst/>
                <a:gdLst>
                  <a:gd name="T0" fmla="*/ 194 w 730"/>
                  <a:gd name="T1" fmla="*/ 374 h 374"/>
                  <a:gd name="T2" fmla="*/ 730 w 730"/>
                  <a:gd name="T3" fmla="*/ 0 h 374"/>
                  <a:gd name="T4" fmla="*/ 31 w 730"/>
                  <a:gd name="T5" fmla="*/ 191 h 374"/>
                  <a:gd name="T6" fmla="*/ 0 w 730"/>
                  <a:gd name="T7" fmla="*/ 281 h 374"/>
                  <a:gd name="T8" fmla="*/ 3 w 730"/>
                  <a:gd name="T9" fmla="*/ 355 h 374"/>
                  <a:gd name="T10" fmla="*/ 194 w 730"/>
                  <a:gd name="T11" fmla="*/ 374 h 374"/>
                  <a:gd name="T12" fmla="*/ 194 w 730"/>
                  <a:gd name="T13" fmla="*/ 374 h 374"/>
                </a:gdLst>
                <a:ahLst/>
                <a:cxnLst>
                  <a:cxn ang="0">
                    <a:pos x="T0" y="T1"/>
                  </a:cxn>
                  <a:cxn ang="0">
                    <a:pos x="T2" y="T3"/>
                  </a:cxn>
                  <a:cxn ang="0">
                    <a:pos x="T4" y="T5"/>
                  </a:cxn>
                  <a:cxn ang="0">
                    <a:pos x="T6" y="T7"/>
                  </a:cxn>
                  <a:cxn ang="0">
                    <a:pos x="T8" y="T9"/>
                  </a:cxn>
                  <a:cxn ang="0">
                    <a:pos x="T10" y="T11"/>
                  </a:cxn>
                  <a:cxn ang="0">
                    <a:pos x="T12" y="T13"/>
                  </a:cxn>
                </a:cxnLst>
                <a:rect l="0" t="0" r="r" b="b"/>
                <a:pathLst>
                  <a:path w="730" h="374">
                    <a:moveTo>
                      <a:pt x="194" y="374"/>
                    </a:moveTo>
                    <a:lnTo>
                      <a:pt x="730" y="0"/>
                    </a:lnTo>
                    <a:lnTo>
                      <a:pt x="31" y="191"/>
                    </a:lnTo>
                    <a:lnTo>
                      <a:pt x="0" y="281"/>
                    </a:lnTo>
                    <a:lnTo>
                      <a:pt x="3" y="355"/>
                    </a:lnTo>
                    <a:lnTo>
                      <a:pt x="194" y="374"/>
                    </a:lnTo>
                    <a:lnTo>
                      <a:pt x="194" y="374"/>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0" name="Freeform 135">
                <a:extLst>
                  <a:ext uri="{FF2B5EF4-FFF2-40B4-BE49-F238E27FC236}">
                    <a16:creationId xmlns:a16="http://schemas.microsoft.com/office/drawing/2014/main" id="{8D34F3E4-48FE-4225-8800-FC1B8CF46760}"/>
                  </a:ext>
                </a:extLst>
              </p:cNvPr>
              <p:cNvSpPr>
                <a:spLocks/>
              </p:cNvSpPr>
              <p:nvPr/>
            </p:nvSpPr>
            <p:spPr bwMode="auto">
              <a:xfrm>
                <a:off x="7054850" y="1969809"/>
                <a:ext cx="742950" cy="982662"/>
              </a:xfrm>
              <a:custGeom>
                <a:avLst/>
                <a:gdLst>
                  <a:gd name="T0" fmla="*/ 468 w 468"/>
                  <a:gd name="T1" fmla="*/ 0 h 619"/>
                  <a:gd name="T2" fmla="*/ 313 w 468"/>
                  <a:gd name="T3" fmla="*/ 580 h 619"/>
                  <a:gd name="T4" fmla="*/ 228 w 468"/>
                  <a:gd name="T5" fmla="*/ 619 h 619"/>
                  <a:gd name="T6" fmla="*/ 100 w 468"/>
                  <a:gd name="T7" fmla="*/ 604 h 619"/>
                  <a:gd name="T8" fmla="*/ 0 w 468"/>
                  <a:gd name="T9" fmla="*/ 428 h 619"/>
                  <a:gd name="T10" fmla="*/ 468 w 468"/>
                  <a:gd name="T11" fmla="*/ 0 h 619"/>
                  <a:gd name="T12" fmla="*/ 468 w 468"/>
                  <a:gd name="T13" fmla="*/ 0 h 619"/>
                </a:gdLst>
                <a:ahLst/>
                <a:cxnLst>
                  <a:cxn ang="0">
                    <a:pos x="T0" y="T1"/>
                  </a:cxn>
                  <a:cxn ang="0">
                    <a:pos x="T2" y="T3"/>
                  </a:cxn>
                  <a:cxn ang="0">
                    <a:pos x="T4" y="T5"/>
                  </a:cxn>
                  <a:cxn ang="0">
                    <a:pos x="T6" y="T7"/>
                  </a:cxn>
                  <a:cxn ang="0">
                    <a:pos x="T8" y="T9"/>
                  </a:cxn>
                  <a:cxn ang="0">
                    <a:pos x="T10" y="T11"/>
                  </a:cxn>
                  <a:cxn ang="0">
                    <a:pos x="T12" y="T13"/>
                  </a:cxn>
                </a:cxnLst>
                <a:rect l="0" t="0" r="r" b="b"/>
                <a:pathLst>
                  <a:path w="468" h="619">
                    <a:moveTo>
                      <a:pt x="468" y="0"/>
                    </a:moveTo>
                    <a:lnTo>
                      <a:pt x="313" y="580"/>
                    </a:lnTo>
                    <a:lnTo>
                      <a:pt x="228" y="619"/>
                    </a:lnTo>
                    <a:lnTo>
                      <a:pt x="100" y="604"/>
                    </a:lnTo>
                    <a:lnTo>
                      <a:pt x="0" y="428"/>
                    </a:lnTo>
                    <a:lnTo>
                      <a:pt x="468" y="0"/>
                    </a:lnTo>
                    <a:lnTo>
                      <a:pt x="468" y="0"/>
                    </a:lnTo>
                    <a:close/>
                  </a:path>
                </a:pathLst>
              </a:custGeom>
              <a:solidFill>
                <a:srgbClr val="CAE2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1" name="Freeform 136">
                <a:extLst>
                  <a:ext uri="{FF2B5EF4-FFF2-40B4-BE49-F238E27FC236}">
                    <a16:creationId xmlns:a16="http://schemas.microsoft.com/office/drawing/2014/main" id="{43CB3395-BE95-451C-A5E4-7B2A559F7FEF}"/>
                  </a:ext>
                </a:extLst>
              </p:cNvPr>
              <p:cNvSpPr>
                <a:spLocks/>
              </p:cNvSpPr>
              <p:nvPr/>
            </p:nvSpPr>
            <p:spPr bwMode="auto">
              <a:xfrm>
                <a:off x="6638925" y="1990447"/>
                <a:ext cx="1082675" cy="425450"/>
              </a:xfrm>
              <a:custGeom>
                <a:avLst/>
                <a:gdLst>
                  <a:gd name="T0" fmla="*/ 682 w 682"/>
                  <a:gd name="T1" fmla="*/ 0 h 268"/>
                  <a:gd name="T2" fmla="*/ 0 w 682"/>
                  <a:gd name="T3" fmla="*/ 268 h 268"/>
                  <a:gd name="T4" fmla="*/ 31 w 682"/>
                  <a:gd name="T5" fmla="*/ 179 h 268"/>
                  <a:gd name="T6" fmla="*/ 682 w 682"/>
                  <a:gd name="T7" fmla="*/ 0 h 268"/>
                  <a:gd name="T8" fmla="*/ 682 w 682"/>
                  <a:gd name="T9" fmla="*/ 0 h 268"/>
                </a:gdLst>
                <a:ahLst/>
                <a:cxnLst>
                  <a:cxn ang="0">
                    <a:pos x="T0" y="T1"/>
                  </a:cxn>
                  <a:cxn ang="0">
                    <a:pos x="T2" y="T3"/>
                  </a:cxn>
                  <a:cxn ang="0">
                    <a:pos x="T4" y="T5"/>
                  </a:cxn>
                  <a:cxn ang="0">
                    <a:pos x="T6" y="T7"/>
                  </a:cxn>
                  <a:cxn ang="0">
                    <a:pos x="T8" y="T9"/>
                  </a:cxn>
                </a:cxnLst>
                <a:rect l="0" t="0" r="r" b="b"/>
                <a:pathLst>
                  <a:path w="682" h="268">
                    <a:moveTo>
                      <a:pt x="682" y="0"/>
                    </a:moveTo>
                    <a:lnTo>
                      <a:pt x="0" y="268"/>
                    </a:lnTo>
                    <a:lnTo>
                      <a:pt x="31" y="179"/>
                    </a:lnTo>
                    <a:lnTo>
                      <a:pt x="682" y="0"/>
                    </a:lnTo>
                    <a:lnTo>
                      <a:pt x="68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2" name="Freeform 137">
                <a:extLst>
                  <a:ext uri="{FF2B5EF4-FFF2-40B4-BE49-F238E27FC236}">
                    <a16:creationId xmlns:a16="http://schemas.microsoft.com/office/drawing/2014/main" id="{068F4CD2-053F-4913-AD39-AA48C0F43783}"/>
                  </a:ext>
                </a:extLst>
              </p:cNvPr>
              <p:cNvSpPr>
                <a:spLocks/>
              </p:cNvSpPr>
              <p:nvPr/>
            </p:nvSpPr>
            <p:spPr bwMode="auto">
              <a:xfrm>
                <a:off x="6946900" y="1977747"/>
                <a:ext cx="842963" cy="812800"/>
              </a:xfrm>
              <a:custGeom>
                <a:avLst/>
                <a:gdLst>
                  <a:gd name="T0" fmla="*/ 68 w 531"/>
                  <a:gd name="T1" fmla="*/ 425 h 512"/>
                  <a:gd name="T2" fmla="*/ 39 w 531"/>
                  <a:gd name="T3" fmla="*/ 512 h 512"/>
                  <a:gd name="T4" fmla="*/ 0 w 531"/>
                  <a:gd name="T5" fmla="*/ 370 h 512"/>
                  <a:gd name="T6" fmla="*/ 531 w 531"/>
                  <a:gd name="T7" fmla="*/ 0 h 512"/>
                  <a:gd name="T8" fmla="*/ 68 w 531"/>
                  <a:gd name="T9" fmla="*/ 425 h 512"/>
                  <a:gd name="T10" fmla="*/ 68 w 531"/>
                  <a:gd name="T11" fmla="*/ 425 h 512"/>
                </a:gdLst>
                <a:ahLst/>
                <a:cxnLst>
                  <a:cxn ang="0">
                    <a:pos x="T0" y="T1"/>
                  </a:cxn>
                  <a:cxn ang="0">
                    <a:pos x="T2" y="T3"/>
                  </a:cxn>
                  <a:cxn ang="0">
                    <a:pos x="T4" y="T5"/>
                  </a:cxn>
                  <a:cxn ang="0">
                    <a:pos x="T6" y="T7"/>
                  </a:cxn>
                  <a:cxn ang="0">
                    <a:pos x="T8" y="T9"/>
                  </a:cxn>
                  <a:cxn ang="0">
                    <a:pos x="T10" y="T11"/>
                  </a:cxn>
                </a:cxnLst>
                <a:rect l="0" t="0" r="r" b="b"/>
                <a:pathLst>
                  <a:path w="531" h="512">
                    <a:moveTo>
                      <a:pt x="68" y="425"/>
                    </a:moveTo>
                    <a:lnTo>
                      <a:pt x="39" y="512"/>
                    </a:lnTo>
                    <a:lnTo>
                      <a:pt x="0" y="370"/>
                    </a:lnTo>
                    <a:lnTo>
                      <a:pt x="531" y="0"/>
                    </a:lnTo>
                    <a:lnTo>
                      <a:pt x="68" y="425"/>
                    </a:lnTo>
                    <a:lnTo>
                      <a:pt x="68"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3" name="Freeform 138">
                <a:extLst>
                  <a:ext uri="{FF2B5EF4-FFF2-40B4-BE49-F238E27FC236}">
                    <a16:creationId xmlns:a16="http://schemas.microsoft.com/office/drawing/2014/main" id="{1A6D8EAC-1DE5-43A9-9261-AAA2B881A42E}"/>
                  </a:ext>
                </a:extLst>
              </p:cNvPr>
              <p:cNvSpPr>
                <a:spLocks/>
              </p:cNvSpPr>
              <p:nvPr/>
            </p:nvSpPr>
            <p:spPr bwMode="auto">
              <a:xfrm>
                <a:off x="7421563" y="1969809"/>
                <a:ext cx="376238" cy="979487"/>
              </a:xfrm>
              <a:custGeom>
                <a:avLst/>
                <a:gdLst>
                  <a:gd name="T0" fmla="*/ 0 w 237"/>
                  <a:gd name="T1" fmla="*/ 617 h 617"/>
                  <a:gd name="T2" fmla="*/ 233 w 237"/>
                  <a:gd name="T3" fmla="*/ 3 h 617"/>
                  <a:gd name="T4" fmla="*/ 237 w 237"/>
                  <a:gd name="T5" fmla="*/ 0 h 617"/>
                  <a:gd name="T6" fmla="*/ 82 w 237"/>
                  <a:gd name="T7" fmla="*/ 580 h 617"/>
                  <a:gd name="T8" fmla="*/ 0 w 237"/>
                  <a:gd name="T9" fmla="*/ 617 h 617"/>
                  <a:gd name="T10" fmla="*/ 0 w 237"/>
                  <a:gd name="T11" fmla="*/ 617 h 617"/>
                </a:gdLst>
                <a:ahLst/>
                <a:cxnLst>
                  <a:cxn ang="0">
                    <a:pos x="T0" y="T1"/>
                  </a:cxn>
                  <a:cxn ang="0">
                    <a:pos x="T2" y="T3"/>
                  </a:cxn>
                  <a:cxn ang="0">
                    <a:pos x="T4" y="T5"/>
                  </a:cxn>
                  <a:cxn ang="0">
                    <a:pos x="T6" y="T7"/>
                  </a:cxn>
                  <a:cxn ang="0">
                    <a:pos x="T8" y="T9"/>
                  </a:cxn>
                  <a:cxn ang="0">
                    <a:pos x="T10" y="T11"/>
                  </a:cxn>
                </a:cxnLst>
                <a:rect l="0" t="0" r="r" b="b"/>
                <a:pathLst>
                  <a:path w="237" h="617">
                    <a:moveTo>
                      <a:pt x="0" y="617"/>
                    </a:moveTo>
                    <a:lnTo>
                      <a:pt x="233" y="3"/>
                    </a:lnTo>
                    <a:lnTo>
                      <a:pt x="237" y="0"/>
                    </a:lnTo>
                    <a:lnTo>
                      <a:pt x="82" y="580"/>
                    </a:lnTo>
                    <a:lnTo>
                      <a:pt x="0" y="617"/>
                    </a:lnTo>
                    <a:lnTo>
                      <a:pt x="0" y="6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4" name="Freeform 147">
                <a:extLst>
                  <a:ext uri="{FF2B5EF4-FFF2-40B4-BE49-F238E27FC236}">
                    <a16:creationId xmlns:a16="http://schemas.microsoft.com/office/drawing/2014/main" id="{927E4C5C-26B7-4A7D-9C8C-E3CB18EF4716}"/>
                  </a:ext>
                </a:extLst>
              </p:cNvPr>
              <p:cNvSpPr>
                <a:spLocks/>
              </p:cNvSpPr>
              <p:nvPr/>
            </p:nvSpPr>
            <p:spPr bwMode="auto">
              <a:xfrm>
                <a:off x="6642100" y="2963584"/>
                <a:ext cx="139700" cy="358775"/>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5" name="Freeform 148">
                <a:extLst>
                  <a:ext uri="{FF2B5EF4-FFF2-40B4-BE49-F238E27FC236}">
                    <a16:creationId xmlns:a16="http://schemas.microsoft.com/office/drawing/2014/main" id="{219F4FDD-5ABC-44BC-9236-81A20423966E}"/>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6" name="Freeform 149">
                <a:extLst>
                  <a:ext uri="{FF2B5EF4-FFF2-40B4-BE49-F238E27FC236}">
                    <a16:creationId xmlns:a16="http://schemas.microsoft.com/office/drawing/2014/main" id="{A0E68430-C869-4BCC-850B-72863AEFB4AA}"/>
                  </a:ext>
                </a:extLst>
              </p:cNvPr>
              <p:cNvSpPr>
                <a:spLocks/>
              </p:cNvSpPr>
              <p:nvPr/>
            </p:nvSpPr>
            <p:spPr bwMode="auto">
              <a:xfrm>
                <a:off x="6638925" y="2935009"/>
                <a:ext cx="149225" cy="415925"/>
              </a:xfrm>
              <a:custGeom>
                <a:avLst/>
                <a:gdLst>
                  <a:gd name="T0" fmla="*/ 2 w 51"/>
                  <a:gd name="T1" fmla="*/ 123 h 142"/>
                  <a:gd name="T2" fmla="*/ 6 w 51"/>
                  <a:gd name="T3" fmla="*/ 107 h 142"/>
                  <a:gd name="T4" fmla="*/ 15 w 51"/>
                  <a:gd name="T5" fmla="*/ 76 h 142"/>
                  <a:gd name="T6" fmla="*/ 47 w 51"/>
                  <a:gd name="T7" fmla="*/ 20 h 142"/>
                  <a:gd name="T8" fmla="*/ 50 w 51"/>
                  <a:gd name="T9" fmla="*/ 0 h 142"/>
                  <a:gd name="T10" fmla="*/ 0 w 51"/>
                  <a:gd name="T11" fmla="*/ 142 h 142"/>
                  <a:gd name="T12" fmla="*/ 2 w 51"/>
                  <a:gd name="T13" fmla="*/ 123 h 142"/>
                  <a:gd name="T14" fmla="*/ 2 w 51"/>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42">
                    <a:moveTo>
                      <a:pt x="2" y="123"/>
                    </a:moveTo>
                    <a:cubicBezTo>
                      <a:pt x="1" y="135"/>
                      <a:pt x="5" y="109"/>
                      <a:pt x="6" y="107"/>
                    </a:cubicBezTo>
                    <a:cubicBezTo>
                      <a:pt x="8" y="96"/>
                      <a:pt x="11" y="86"/>
                      <a:pt x="15" y="76"/>
                    </a:cubicBezTo>
                    <a:cubicBezTo>
                      <a:pt x="22" y="56"/>
                      <a:pt x="32" y="35"/>
                      <a:pt x="47" y="20"/>
                    </a:cubicBezTo>
                    <a:cubicBezTo>
                      <a:pt x="51" y="16"/>
                      <a:pt x="47" y="4"/>
                      <a:pt x="50" y="0"/>
                    </a:cubicBezTo>
                    <a:cubicBezTo>
                      <a:pt x="14" y="35"/>
                      <a:pt x="5" y="93"/>
                      <a:pt x="0" y="142"/>
                    </a:cubicBezTo>
                    <a:cubicBezTo>
                      <a:pt x="0" y="137"/>
                      <a:pt x="2" y="129"/>
                      <a:pt x="2" y="123"/>
                    </a:cubicBezTo>
                    <a:cubicBezTo>
                      <a:pt x="2" y="123"/>
                      <a:pt x="2" y="123"/>
                      <a:pt x="2"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7" name="Freeform 150">
                <a:extLst>
                  <a:ext uri="{FF2B5EF4-FFF2-40B4-BE49-F238E27FC236}">
                    <a16:creationId xmlns:a16="http://schemas.microsoft.com/office/drawing/2014/main" id="{1F66235D-2370-481D-8CA9-8BF923074F0B}"/>
                  </a:ext>
                </a:extLst>
              </p:cNvPr>
              <p:cNvSpPr>
                <a:spLocks/>
              </p:cNvSpPr>
              <p:nvPr/>
            </p:nvSpPr>
            <p:spPr bwMode="auto">
              <a:xfrm>
                <a:off x="6778625" y="2931834"/>
                <a:ext cx="141288" cy="357187"/>
              </a:xfrm>
              <a:custGeom>
                <a:avLst/>
                <a:gdLst>
                  <a:gd name="T0" fmla="*/ 0 w 48"/>
                  <a:gd name="T1" fmla="*/ 122 h 122"/>
                  <a:gd name="T2" fmla="*/ 48 w 48"/>
                  <a:gd name="T3" fmla="*/ 0 h 122"/>
                </a:gdLst>
                <a:ahLst/>
                <a:cxnLst>
                  <a:cxn ang="0">
                    <a:pos x="T0" y="T1"/>
                  </a:cxn>
                  <a:cxn ang="0">
                    <a:pos x="T2" y="T3"/>
                  </a:cxn>
                </a:cxnLst>
                <a:rect l="0" t="0" r="r" b="b"/>
                <a:pathLst>
                  <a:path w="48" h="122">
                    <a:moveTo>
                      <a:pt x="0" y="122"/>
                    </a:moveTo>
                    <a:cubicBezTo>
                      <a:pt x="0" y="122"/>
                      <a:pt x="10" y="35"/>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8" name="Freeform 151">
                <a:extLst>
                  <a:ext uri="{FF2B5EF4-FFF2-40B4-BE49-F238E27FC236}">
                    <a16:creationId xmlns:a16="http://schemas.microsoft.com/office/drawing/2014/main" id="{7A97B14E-1CC2-4ACB-98DA-593FFDFC02ED}"/>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39" name="Freeform 152">
                <a:extLst>
                  <a:ext uri="{FF2B5EF4-FFF2-40B4-BE49-F238E27FC236}">
                    <a16:creationId xmlns:a16="http://schemas.microsoft.com/office/drawing/2014/main" id="{6BD5FD34-12BF-4F0C-8CE4-B5D39CF44390}"/>
                  </a:ext>
                </a:extLst>
              </p:cNvPr>
              <p:cNvSpPr>
                <a:spLocks/>
              </p:cNvSpPr>
              <p:nvPr/>
            </p:nvSpPr>
            <p:spPr bwMode="auto">
              <a:xfrm>
                <a:off x="6777038" y="2901672"/>
                <a:ext cx="152400" cy="417512"/>
              </a:xfrm>
              <a:custGeom>
                <a:avLst/>
                <a:gdLst>
                  <a:gd name="T0" fmla="*/ 3 w 52"/>
                  <a:gd name="T1" fmla="*/ 123 h 142"/>
                  <a:gd name="T2" fmla="*/ 6 w 52"/>
                  <a:gd name="T3" fmla="*/ 107 h 142"/>
                  <a:gd name="T4" fmla="*/ 15 w 52"/>
                  <a:gd name="T5" fmla="*/ 76 h 142"/>
                  <a:gd name="T6" fmla="*/ 48 w 52"/>
                  <a:gd name="T7" fmla="*/ 20 h 142"/>
                  <a:gd name="T8" fmla="*/ 51 w 52"/>
                  <a:gd name="T9" fmla="*/ 0 h 142"/>
                  <a:gd name="T10" fmla="*/ 0 w 52"/>
                  <a:gd name="T11" fmla="*/ 142 h 142"/>
                  <a:gd name="T12" fmla="*/ 3 w 52"/>
                  <a:gd name="T13" fmla="*/ 123 h 142"/>
                  <a:gd name="T14" fmla="*/ 3 w 52"/>
                  <a:gd name="T15" fmla="*/ 123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42">
                    <a:moveTo>
                      <a:pt x="3" y="123"/>
                    </a:moveTo>
                    <a:cubicBezTo>
                      <a:pt x="1" y="135"/>
                      <a:pt x="6" y="110"/>
                      <a:pt x="6" y="107"/>
                    </a:cubicBezTo>
                    <a:cubicBezTo>
                      <a:pt x="9" y="97"/>
                      <a:pt x="12" y="87"/>
                      <a:pt x="15" y="76"/>
                    </a:cubicBezTo>
                    <a:cubicBezTo>
                      <a:pt x="22" y="56"/>
                      <a:pt x="32" y="36"/>
                      <a:pt x="48" y="20"/>
                    </a:cubicBezTo>
                    <a:cubicBezTo>
                      <a:pt x="52" y="16"/>
                      <a:pt x="47" y="4"/>
                      <a:pt x="51" y="0"/>
                    </a:cubicBezTo>
                    <a:cubicBezTo>
                      <a:pt x="14" y="36"/>
                      <a:pt x="5" y="94"/>
                      <a:pt x="0" y="142"/>
                    </a:cubicBezTo>
                    <a:cubicBezTo>
                      <a:pt x="0" y="137"/>
                      <a:pt x="2" y="129"/>
                      <a:pt x="3" y="123"/>
                    </a:cubicBezTo>
                    <a:cubicBezTo>
                      <a:pt x="3" y="123"/>
                      <a:pt x="3" y="123"/>
                      <a:pt x="3" y="123"/>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40" name="Freeform 153">
                <a:extLst>
                  <a:ext uri="{FF2B5EF4-FFF2-40B4-BE49-F238E27FC236}">
                    <a16:creationId xmlns:a16="http://schemas.microsoft.com/office/drawing/2014/main" id="{426A75B7-EBC1-4D0A-8E6B-B3AD121AFCFB}"/>
                  </a:ext>
                </a:extLst>
              </p:cNvPr>
              <p:cNvSpPr>
                <a:spLocks/>
              </p:cNvSpPr>
              <p:nvPr/>
            </p:nvSpPr>
            <p:spPr bwMode="auto">
              <a:xfrm>
                <a:off x="6964363" y="2958822"/>
                <a:ext cx="106363" cy="225425"/>
              </a:xfrm>
              <a:custGeom>
                <a:avLst/>
                <a:gdLst>
                  <a:gd name="T0" fmla="*/ 0 w 36"/>
                  <a:gd name="T1" fmla="*/ 77 h 77"/>
                  <a:gd name="T2" fmla="*/ 36 w 36"/>
                  <a:gd name="T3" fmla="*/ 0 h 77"/>
                </a:gdLst>
                <a:ahLst/>
                <a:cxnLst>
                  <a:cxn ang="0">
                    <a:pos x="T0" y="T1"/>
                  </a:cxn>
                  <a:cxn ang="0">
                    <a:pos x="T2" y="T3"/>
                  </a:cxn>
                </a:cxnLst>
                <a:rect l="0" t="0" r="r" b="b"/>
                <a:pathLst>
                  <a:path w="36" h="77">
                    <a:moveTo>
                      <a:pt x="0" y="77"/>
                    </a:moveTo>
                    <a:cubicBezTo>
                      <a:pt x="0" y="77"/>
                      <a:pt x="8" y="23"/>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41" name="Freeform 154">
                <a:extLst>
                  <a:ext uri="{FF2B5EF4-FFF2-40B4-BE49-F238E27FC236}">
                    <a16:creationId xmlns:a16="http://schemas.microsoft.com/office/drawing/2014/main" id="{4AAB9682-4C5C-4BBB-A554-6EE0D022EB02}"/>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sp>
            <p:nvSpPr>
              <p:cNvPr id="42" name="Freeform 155">
                <a:extLst>
                  <a:ext uri="{FF2B5EF4-FFF2-40B4-BE49-F238E27FC236}">
                    <a16:creationId xmlns:a16="http://schemas.microsoft.com/office/drawing/2014/main" id="{BA986083-1E37-4772-9FDD-D7AC482830E6}"/>
                  </a:ext>
                </a:extLst>
              </p:cNvPr>
              <p:cNvSpPr>
                <a:spLocks/>
              </p:cNvSpPr>
              <p:nvPr/>
            </p:nvSpPr>
            <p:spPr bwMode="auto">
              <a:xfrm>
                <a:off x="6961188" y="2928659"/>
                <a:ext cx="114300" cy="290512"/>
              </a:xfrm>
              <a:custGeom>
                <a:avLst/>
                <a:gdLst>
                  <a:gd name="T0" fmla="*/ 0 w 39"/>
                  <a:gd name="T1" fmla="*/ 96 h 99"/>
                  <a:gd name="T2" fmla="*/ 35 w 39"/>
                  <a:gd name="T3" fmla="*/ 20 h 99"/>
                  <a:gd name="T4" fmla="*/ 38 w 39"/>
                  <a:gd name="T5" fmla="*/ 0 h 99"/>
                  <a:gd name="T6" fmla="*/ 2 w 39"/>
                  <a:gd name="T7" fmla="*/ 79 h 99"/>
                  <a:gd name="T8" fmla="*/ 0 w 39"/>
                  <a:gd name="T9" fmla="*/ 92 h 99"/>
                  <a:gd name="T10" fmla="*/ 0 w 39"/>
                  <a:gd name="T11" fmla="*/ 96 h 99"/>
                  <a:gd name="T12" fmla="*/ 0 w 39"/>
                  <a:gd name="T13" fmla="*/ 96 h 99"/>
                </a:gdLst>
                <a:ahLst/>
                <a:cxnLst>
                  <a:cxn ang="0">
                    <a:pos x="T0" y="T1"/>
                  </a:cxn>
                  <a:cxn ang="0">
                    <a:pos x="T2" y="T3"/>
                  </a:cxn>
                  <a:cxn ang="0">
                    <a:pos x="T4" y="T5"/>
                  </a:cxn>
                  <a:cxn ang="0">
                    <a:pos x="T6" y="T7"/>
                  </a:cxn>
                  <a:cxn ang="0">
                    <a:pos x="T8" y="T9"/>
                  </a:cxn>
                  <a:cxn ang="0">
                    <a:pos x="T10" y="T11"/>
                  </a:cxn>
                  <a:cxn ang="0">
                    <a:pos x="T12" y="T13"/>
                  </a:cxn>
                </a:cxnLst>
                <a:rect l="0" t="0" r="r" b="b"/>
                <a:pathLst>
                  <a:path w="39" h="99">
                    <a:moveTo>
                      <a:pt x="0" y="96"/>
                    </a:moveTo>
                    <a:cubicBezTo>
                      <a:pt x="4" y="69"/>
                      <a:pt x="15" y="38"/>
                      <a:pt x="35" y="20"/>
                    </a:cubicBezTo>
                    <a:cubicBezTo>
                      <a:pt x="39" y="17"/>
                      <a:pt x="34" y="4"/>
                      <a:pt x="38" y="0"/>
                    </a:cubicBezTo>
                    <a:cubicBezTo>
                      <a:pt x="16" y="19"/>
                      <a:pt x="7" y="51"/>
                      <a:pt x="2" y="79"/>
                    </a:cubicBezTo>
                    <a:cubicBezTo>
                      <a:pt x="2" y="83"/>
                      <a:pt x="1" y="88"/>
                      <a:pt x="0" y="92"/>
                    </a:cubicBezTo>
                    <a:cubicBezTo>
                      <a:pt x="0" y="93"/>
                      <a:pt x="0" y="99"/>
                      <a:pt x="0" y="96"/>
                    </a:cubicBezTo>
                    <a:cubicBezTo>
                      <a:pt x="0" y="96"/>
                      <a:pt x="0" y="96"/>
                      <a:pt x="0" y="96"/>
                    </a:cubicBezTo>
                    <a:close/>
                  </a:path>
                </a:pathLst>
              </a:custGeom>
              <a:solidFill>
                <a:srgbClr val="99C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fr-CA" sz="1200" dirty="0">
                  <a:solidFill>
                    <a:prstClr val="black"/>
                  </a:solidFill>
                  <a:latin typeface="Calibri"/>
                  <a:cs typeface="Verdana" panose="020B0604030504040204" pitchFamily="34" charset="0"/>
                </a:endParaRPr>
              </a:p>
            </p:txBody>
          </p:sp>
        </p:grpSp>
        <p:sp>
          <p:nvSpPr>
            <p:cNvPr id="44" name="Rectangle 43">
              <a:extLst>
                <a:ext uri="{FF2B5EF4-FFF2-40B4-BE49-F238E27FC236}">
                  <a16:creationId xmlns:a16="http://schemas.microsoft.com/office/drawing/2014/main" id="{DC13E024-06F5-4919-9DB6-4AD09DBA2E38}"/>
                </a:ext>
              </a:extLst>
            </p:cNvPr>
            <p:cNvSpPr/>
            <p:nvPr>
              <p:custDataLst>
                <p:tags r:id="rId22"/>
              </p:custDataLst>
            </p:nvPr>
          </p:nvSpPr>
          <p:spPr>
            <a:xfrm>
              <a:off x="4581259" y="3813397"/>
              <a:ext cx="1816689" cy="632576"/>
            </a:xfrm>
            <a:prstGeom prst="rect">
              <a:avLst/>
            </a:prstGeom>
          </p:spPr>
          <p:txBody>
            <a:bodyPr wrap="square">
              <a:spAutoFit/>
            </a:bodyPr>
            <a:lstStyle/>
            <a:p>
              <a:pPr defTabSz="685800">
                <a:defRPr/>
              </a:pPr>
              <a:endParaRPr lang="fr-CA" sz="1200" b="1" dirty="0">
                <a:solidFill>
                  <a:schemeClr val="bg1"/>
                </a:solidFill>
                <a:latin typeface="Calibri"/>
                <a:cs typeface="Verdana" panose="020B0604030504040204" pitchFamily="34" charset="0"/>
              </a:endParaRPr>
            </a:p>
            <a:p>
              <a:pPr marL="96441" indent="-77153">
                <a:spcBef>
                  <a:spcPts val="338"/>
                </a:spcBef>
                <a:buFont typeface="Arial" panose="020B0604020202020204" pitchFamily="34" charset="0"/>
                <a:buChar char="•"/>
                <a:defRPr/>
              </a:pPr>
              <a:r>
                <a:rPr lang="en-US" sz="1200" dirty="0">
                  <a:solidFill>
                    <a:schemeClr val="bg1"/>
                  </a:solidFill>
                </a:rPr>
                <a:t>Accuracy: 86%</a:t>
              </a:r>
            </a:p>
            <a:p>
              <a:pPr marL="96441" indent="-77153">
                <a:spcBef>
                  <a:spcPts val="338"/>
                </a:spcBef>
                <a:buFont typeface="Arial" panose="020B0604020202020204" pitchFamily="34" charset="0"/>
                <a:buChar char="•"/>
                <a:defRPr/>
              </a:pPr>
              <a:r>
                <a:rPr lang="en-US" sz="1200" dirty="0">
                  <a:solidFill>
                    <a:schemeClr val="bg1"/>
                  </a:solidFill>
                </a:rPr>
                <a:t>Precision : 85%</a:t>
              </a:r>
            </a:p>
          </p:txBody>
        </p:sp>
        <p:sp>
          <p:nvSpPr>
            <p:cNvPr id="45" name="Rectangle 44">
              <a:extLst>
                <a:ext uri="{FF2B5EF4-FFF2-40B4-BE49-F238E27FC236}">
                  <a16:creationId xmlns:a16="http://schemas.microsoft.com/office/drawing/2014/main" id="{31D9FA63-67A9-4702-B8D9-70C282E7D713}"/>
                </a:ext>
              </a:extLst>
            </p:cNvPr>
            <p:cNvSpPr/>
            <p:nvPr>
              <p:custDataLst>
                <p:tags r:id="rId23"/>
              </p:custDataLst>
            </p:nvPr>
          </p:nvSpPr>
          <p:spPr>
            <a:xfrm>
              <a:off x="6452505" y="3393797"/>
              <a:ext cx="1629656" cy="632576"/>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 </a:t>
              </a:r>
            </a:p>
            <a:p>
              <a:pPr marL="96441" indent="-77153">
                <a:spcBef>
                  <a:spcPts val="338"/>
                </a:spcBef>
                <a:buFont typeface="Arial" panose="020B0604020202020204" pitchFamily="34" charset="0"/>
                <a:buChar char="•"/>
                <a:defRPr/>
              </a:pPr>
              <a:r>
                <a:rPr lang="en-US" sz="1200" dirty="0">
                  <a:solidFill>
                    <a:schemeClr val="bg1"/>
                  </a:solidFill>
                </a:rPr>
                <a:t>Accuracy: 88%</a:t>
              </a:r>
            </a:p>
            <a:p>
              <a:pPr marL="96441" indent="-77153">
                <a:spcBef>
                  <a:spcPts val="338"/>
                </a:spcBef>
                <a:buFont typeface="Arial" panose="020B0604020202020204" pitchFamily="34" charset="0"/>
                <a:buChar char="•"/>
                <a:defRPr/>
              </a:pPr>
              <a:r>
                <a:rPr lang="en-US" sz="1200" dirty="0">
                  <a:solidFill>
                    <a:schemeClr val="bg1"/>
                  </a:solidFill>
                </a:rPr>
                <a:t>Precision :  88%</a:t>
              </a:r>
            </a:p>
          </p:txBody>
        </p:sp>
        <p:sp>
          <p:nvSpPr>
            <p:cNvPr id="46" name="Rectangle 45">
              <a:extLst>
                <a:ext uri="{FF2B5EF4-FFF2-40B4-BE49-F238E27FC236}">
                  <a16:creationId xmlns:a16="http://schemas.microsoft.com/office/drawing/2014/main" id="{65B53DAE-766F-4986-8C1A-6A9127C520FE}"/>
                </a:ext>
              </a:extLst>
            </p:cNvPr>
            <p:cNvSpPr/>
            <p:nvPr>
              <p:custDataLst>
                <p:tags r:id="rId24"/>
              </p:custDataLst>
            </p:nvPr>
          </p:nvSpPr>
          <p:spPr>
            <a:xfrm>
              <a:off x="8336574" y="2942164"/>
              <a:ext cx="2087601" cy="632576"/>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Best Performing Model </a:t>
              </a:r>
            </a:p>
            <a:p>
              <a:pPr marL="96441" indent="-77153">
                <a:spcBef>
                  <a:spcPts val="338"/>
                </a:spcBef>
                <a:buFont typeface="Arial" panose="020B0604020202020204" pitchFamily="34" charset="0"/>
                <a:buChar char="•"/>
                <a:defRPr/>
              </a:pPr>
              <a:r>
                <a:rPr lang="en-US" sz="1200" dirty="0">
                  <a:solidFill>
                    <a:schemeClr val="bg1"/>
                  </a:solidFill>
                </a:rPr>
                <a:t>Accuracy: 91%</a:t>
              </a:r>
            </a:p>
            <a:p>
              <a:pPr marL="96441" indent="-77153">
                <a:spcBef>
                  <a:spcPts val="338"/>
                </a:spcBef>
                <a:buFont typeface="Arial" panose="020B0604020202020204" pitchFamily="34" charset="0"/>
                <a:buChar char="•"/>
                <a:defRPr/>
              </a:pPr>
              <a:r>
                <a:rPr lang="en-US" sz="1200" dirty="0">
                  <a:solidFill>
                    <a:schemeClr val="bg1"/>
                  </a:solidFill>
                </a:rPr>
                <a:t>Precision : 91%</a:t>
              </a:r>
            </a:p>
          </p:txBody>
        </p:sp>
        <p:sp>
          <p:nvSpPr>
            <p:cNvPr id="47" name="Rectangle 46">
              <a:extLst>
                <a:ext uri="{FF2B5EF4-FFF2-40B4-BE49-F238E27FC236}">
                  <a16:creationId xmlns:a16="http://schemas.microsoft.com/office/drawing/2014/main" id="{E00D17FD-6450-4132-A7D8-E6B632330318}"/>
                </a:ext>
              </a:extLst>
            </p:cNvPr>
            <p:cNvSpPr/>
            <p:nvPr>
              <p:custDataLst>
                <p:tags r:id="rId25"/>
              </p:custDataLst>
            </p:nvPr>
          </p:nvSpPr>
          <p:spPr>
            <a:xfrm>
              <a:off x="2383160" y="4347263"/>
              <a:ext cx="2640373" cy="827732"/>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Baseline Model </a:t>
              </a:r>
            </a:p>
            <a:p>
              <a:pPr marL="96441" indent="-77153">
                <a:spcBef>
                  <a:spcPts val="338"/>
                </a:spcBef>
                <a:buFont typeface="Arial" panose="020B0604020202020204" pitchFamily="34" charset="0"/>
                <a:buChar char="•"/>
                <a:defRPr/>
              </a:pPr>
              <a:r>
                <a:rPr lang="en-US" sz="1200" dirty="0">
                  <a:solidFill>
                    <a:schemeClr val="bg1"/>
                  </a:solidFill>
                </a:rPr>
                <a:t>Accuracy: 83%</a:t>
              </a:r>
            </a:p>
            <a:p>
              <a:pPr marL="96441" indent="-77153">
                <a:spcBef>
                  <a:spcPts val="338"/>
                </a:spcBef>
                <a:buFont typeface="Arial" panose="020B0604020202020204" pitchFamily="34" charset="0"/>
                <a:buChar char="•"/>
                <a:defRPr/>
              </a:pPr>
              <a:r>
                <a:rPr lang="en-US" sz="1200" dirty="0">
                  <a:solidFill>
                    <a:schemeClr val="bg1"/>
                  </a:solidFill>
                </a:rPr>
                <a:t>Precision: 82%</a:t>
              </a:r>
            </a:p>
            <a:p>
              <a:pPr marL="19288">
                <a:spcBef>
                  <a:spcPts val="338"/>
                </a:spcBef>
                <a:defRPr/>
              </a:pPr>
              <a:endParaRPr lang="en-US" sz="1200" dirty="0">
                <a:solidFill>
                  <a:schemeClr val="bg1"/>
                </a:solidFill>
              </a:endParaRPr>
            </a:p>
          </p:txBody>
        </p:sp>
      </p:grpSp>
      <p:pic>
        <p:nvPicPr>
          <p:cNvPr id="48" name="Picture 47">
            <a:extLst>
              <a:ext uri="{FF2B5EF4-FFF2-40B4-BE49-F238E27FC236}">
                <a16:creationId xmlns:a16="http://schemas.microsoft.com/office/drawing/2014/main" id="{C0987E94-CA11-4CFC-9C2B-899E7C46FC10}"/>
              </a:ext>
            </a:extLst>
          </p:cNvPr>
          <p:cNvPicPr>
            <a:picLocks noChangeAspect="1"/>
          </p:cNvPicPr>
          <p:nvPr/>
        </p:nvPicPr>
        <p:blipFill>
          <a:blip r:embed="rId27"/>
          <a:stretch>
            <a:fillRect/>
          </a:stretch>
        </p:blipFill>
        <p:spPr>
          <a:xfrm>
            <a:off x="261257" y="6381754"/>
            <a:ext cx="10991101" cy="295275"/>
          </a:xfrm>
          <a:prstGeom prst="rect">
            <a:avLst/>
          </a:prstGeom>
        </p:spPr>
      </p:pic>
      <p:sp>
        <p:nvSpPr>
          <p:cNvPr id="49" name="Rectangle 48">
            <a:extLst>
              <a:ext uri="{FF2B5EF4-FFF2-40B4-BE49-F238E27FC236}">
                <a16:creationId xmlns:a16="http://schemas.microsoft.com/office/drawing/2014/main" id="{21D10FD3-BF3A-4D3C-ADAA-6DAA5448CA9E}"/>
              </a:ext>
            </a:extLst>
          </p:cNvPr>
          <p:cNvSpPr/>
          <p:nvPr>
            <p:custDataLst>
              <p:tags r:id="rId1"/>
            </p:custDataLst>
          </p:nvPr>
        </p:nvSpPr>
        <p:spPr>
          <a:xfrm>
            <a:off x="326572" y="5851364"/>
            <a:ext cx="10991101" cy="723275"/>
          </a:xfrm>
          <a:prstGeom prst="rect">
            <a:avLst/>
          </a:prstGeom>
        </p:spPr>
        <p:txBody>
          <a:bodyPr wrap="square">
            <a:spAutoFit/>
          </a:bodyPr>
          <a:lstStyle/>
          <a:p>
            <a:pPr lvl="0"/>
            <a:r>
              <a:rPr lang="fr-CA" sz="1200" b="1" dirty="0">
                <a:solidFill>
                  <a:schemeClr val="bg1"/>
                </a:solidFill>
                <a:latin typeface="Calibri"/>
                <a:cs typeface="Verdana" panose="020B0604030504040204" pitchFamily="34" charset="0"/>
              </a:rPr>
              <a:t>Interpretation</a:t>
            </a:r>
          </a:p>
          <a:p>
            <a:pPr marL="96441" indent="-77153">
              <a:spcBef>
                <a:spcPts val="338"/>
              </a:spcBef>
              <a:buFont typeface="Arial" panose="020B0604020202020204" pitchFamily="34" charset="0"/>
              <a:buChar char="•"/>
              <a:defRPr/>
            </a:pPr>
            <a:r>
              <a:rPr lang="en-US" sz="1200" dirty="0">
                <a:solidFill>
                  <a:schemeClr val="bg1"/>
                </a:solidFill>
              </a:rPr>
              <a:t>Accuracy measures  how much the ML model was correct in classifying websites overall</a:t>
            </a:r>
          </a:p>
          <a:p>
            <a:pPr marL="96441" indent="-77153">
              <a:spcBef>
                <a:spcPts val="338"/>
              </a:spcBef>
              <a:buFont typeface="Arial" panose="020B0604020202020204" pitchFamily="34" charset="0"/>
              <a:buChar char="•"/>
              <a:defRPr/>
            </a:pPr>
            <a:r>
              <a:rPr lang="en-US" sz="1200" dirty="0">
                <a:solidFill>
                  <a:schemeClr val="bg1"/>
                </a:solidFill>
              </a:rPr>
              <a:t>Precision measures how well the ML model predicted legitimate websites from all the predictions classified as legitimate</a:t>
            </a:r>
          </a:p>
        </p:txBody>
      </p:sp>
    </p:spTree>
    <p:extLst>
      <p:ext uri="{BB962C8B-B14F-4D97-AF65-F5344CB8AC3E}">
        <p14:creationId xmlns:p14="http://schemas.microsoft.com/office/powerpoint/2010/main" val="31189127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50A2C07-0354-4BA4-9415-2601874AC2EE}"/>
              </a:ext>
            </a:extLst>
          </p:cNvPr>
          <p:cNvSpPr>
            <a:spLocks noGrp="1"/>
          </p:cNvSpPr>
          <p:nvPr>
            <p:ph type="title"/>
          </p:nvPr>
        </p:nvSpPr>
        <p:spPr/>
        <p:txBody>
          <a:bodyPr/>
          <a:lstStyle/>
          <a:p>
            <a:r>
              <a:rPr lang="en-US" b="1" dirty="0"/>
              <a:t>Model Evaluation and Recommendation</a:t>
            </a:r>
            <a:endParaRPr lang="en-US" dirty="0"/>
          </a:p>
        </p:txBody>
      </p:sp>
      <p:pic>
        <p:nvPicPr>
          <p:cNvPr id="11" name="Picture 10">
            <a:extLst>
              <a:ext uri="{FF2B5EF4-FFF2-40B4-BE49-F238E27FC236}">
                <a16:creationId xmlns:a16="http://schemas.microsoft.com/office/drawing/2014/main" id="{53EAE764-838A-426B-85A5-A93797BFCA2E}"/>
              </a:ext>
            </a:extLst>
          </p:cNvPr>
          <p:cNvPicPr>
            <a:picLocks noChangeAspect="1"/>
          </p:cNvPicPr>
          <p:nvPr/>
        </p:nvPicPr>
        <p:blipFill>
          <a:blip r:embed="rId3"/>
          <a:stretch>
            <a:fillRect/>
          </a:stretch>
        </p:blipFill>
        <p:spPr>
          <a:xfrm>
            <a:off x="3059566" y="1218263"/>
            <a:ext cx="5988166" cy="4484912"/>
          </a:xfrm>
          <a:prstGeom prst="rect">
            <a:avLst/>
          </a:prstGeom>
        </p:spPr>
      </p:pic>
      <p:sp>
        <p:nvSpPr>
          <p:cNvPr id="12" name="Rectangle 11">
            <a:extLst>
              <a:ext uri="{FF2B5EF4-FFF2-40B4-BE49-F238E27FC236}">
                <a16:creationId xmlns:a16="http://schemas.microsoft.com/office/drawing/2014/main" id="{A150EFCD-C6D5-4C89-904E-861C2C3BBAF2}"/>
              </a:ext>
            </a:extLst>
          </p:cNvPr>
          <p:cNvSpPr/>
          <p:nvPr>
            <p:custDataLst>
              <p:tags r:id="rId1"/>
            </p:custDataLst>
          </p:nvPr>
        </p:nvSpPr>
        <p:spPr>
          <a:xfrm>
            <a:off x="501652" y="5970729"/>
            <a:ext cx="10991101" cy="684803"/>
          </a:xfrm>
          <a:prstGeom prst="rect">
            <a:avLst/>
          </a:prstGeom>
        </p:spPr>
        <p:txBody>
          <a:bodyPr wrap="square">
            <a:spAutoFit/>
          </a:bodyPr>
          <a:lstStyle/>
          <a:p>
            <a:pPr marL="190738" indent="-171450">
              <a:spcBef>
                <a:spcPts val="338"/>
              </a:spcBef>
              <a:buFont typeface="Arial" panose="020B0604020202020204" pitchFamily="34" charset="0"/>
              <a:buChar char="•"/>
              <a:defRPr/>
            </a:pPr>
            <a:r>
              <a:rPr lang="en-US" sz="1200" dirty="0"/>
              <a:t>Based on the data and methodologies adopted, the XGBoost ML model had the best evaluation metric and as such should be used to detect phishing websites. </a:t>
            </a:r>
          </a:p>
          <a:p>
            <a:pPr marL="190738" indent="-171450">
              <a:spcBef>
                <a:spcPts val="338"/>
              </a:spcBef>
              <a:buFont typeface="Arial" panose="020B0604020202020204" pitchFamily="34" charset="0"/>
              <a:buChar char="•"/>
              <a:defRPr/>
            </a:pPr>
            <a:r>
              <a:rPr lang="en-US" sz="1200" dirty="0"/>
              <a:t>Among all the URL predicted as legitimate websites, 91% of them are truly legitimate.</a:t>
            </a:r>
          </a:p>
        </p:txBody>
      </p:sp>
      <p:sp>
        <p:nvSpPr>
          <p:cNvPr id="13" name="Title 2">
            <a:extLst>
              <a:ext uri="{FF2B5EF4-FFF2-40B4-BE49-F238E27FC236}">
                <a16:creationId xmlns:a16="http://schemas.microsoft.com/office/drawing/2014/main" id="{E4343DC1-3D9B-4C34-A4FB-DA8B64B478D0}"/>
              </a:ext>
            </a:extLst>
          </p:cNvPr>
          <p:cNvSpPr txBox="1">
            <a:spLocks/>
          </p:cNvSpPr>
          <p:nvPr/>
        </p:nvSpPr>
        <p:spPr bwMode="gray">
          <a:xfrm>
            <a:off x="501652" y="748771"/>
            <a:ext cx="11188700" cy="33409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GB" sz="1600" dirty="0"/>
              <a:t>XGBoost—Evaluation Deep Dive </a:t>
            </a:r>
          </a:p>
        </p:txBody>
      </p:sp>
    </p:spTree>
    <p:extLst>
      <p:ext uri="{BB962C8B-B14F-4D97-AF65-F5344CB8AC3E}">
        <p14:creationId xmlns:p14="http://schemas.microsoft.com/office/powerpoint/2010/main" val="427157890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9"/>
</p:tagLst>
</file>

<file path=ppt/tags/tag11.xml><?xml version="1.0" encoding="utf-8"?>
<p:tagLst xmlns:a="http://schemas.openxmlformats.org/drawingml/2006/main" xmlns:r="http://schemas.openxmlformats.org/officeDocument/2006/relationships" xmlns:p="http://schemas.openxmlformats.org/presentationml/2006/main">
  <p:tag name="NUM" val="10"/>
</p:tagLst>
</file>

<file path=ppt/tags/tag12.xml><?xml version="1.0" encoding="utf-8"?>
<p:tagLst xmlns:a="http://schemas.openxmlformats.org/drawingml/2006/main" xmlns:r="http://schemas.openxmlformats.org/officeDocument/2006/relationships" xmlns:p="http://schemas.openxmlformats.org/presentationml/2006/main">
  <p:tag name="NUM" val="11"/>
</p:tagLst>
</file>

<file path=ppt/tags/tag13.xml><?xml version="1.0" encoding="utf-8"?>
<p:tagLst xmlns:a="http://schemas.openxmlformats.org/drawingml/2006/main" xmlns:r="http://schemas.openxmlformats.org/officeDocument/2006/relationships" xmlns:p="http://schemas.openxmlformats.org/presentationml/2006/main">
  <p:tag name="NUM" val="12"/>
</p:tagLst>
</file>

<file path=ppt/tags/tag14.xml><?xml version="1.0" encoding="utf-8"?>
<p:tagLst xmlns:a="http://schemas.openxmlformats.org/drawingml/2006/main" xmlns:r="http://schemas.openxmlformats.org/officeDocument/2006/relationships" xmlns:p="http://schemas.openxmlformats.org/presentationml/2006/main">
  <p:tag name="NUM" val="13"/>
</p:tagLst>
</file>

<file path=ppt/tags/tag15.xml><?xml version="1.0" encoding="utf-8"?>
<p:tagLst xmlns:a="http://schemas.openxmlformats.org/drawingml/2006/main" xmlns:r="http://schemas.openxmlformats.org/officeDocument/2006/relationships" xmlns:p="http://schemas.openxmlformats.org/presentationml/2006/main">
  <p:tag name="NUM" val="14"/>
</p:tagLst>
</file>

<file path=ppt/tags/tag16.xml><?xml version="1.0" encoding="utf-8"?>
<p:tagLst xmlns:a="http://schemas.openxmlformats.org/drawingml/2006/main" xmlns:r="http://schemas.openxmlformats.org/officeDocument/2006/relationships" xmlns:p="http://schemas.openxmlformats.org/presentationml/2006/main">
  <p:tag name="NUM" val="15"/>
</p:tagLst>
</file>

<file path=ppt/tags/tag17.xml><?xml version="1.0" encoding="utf-8"?>
<p:tagLst xmlns:a="http://schemas.openxmlformats.org/drawingml/2006/main" xmlns:r="http://schemas.openxmlformats.org/officeDocument/2006/relationships" xmlns:p="http://schemas.openxmlformats.org/presentationml/2006/main">
  <p:tag name="NUM" val="16"/>
</p:tagLst>
</file>

<file path=ppt/tags/tag18.xml><?xml version="1.0" encoding="utf-8"?>
<p:tagLst xmlns:a="http://schemas.openxmlformats.org/drawingml/2006/main" xmlns:r="http://schemas.openxmlformats.org/officeDocument/2006/relationships" xmlns:p="http://schemas.openxmlformats.org/presentationml/2006/main">
  <p:tag name="NUM" val="17"/>
</p:tagLst>
</file>

<file path=ppt/tags/tag19.xml><?xml version="1.0" encoding="utf-8"?>
<p:tagLst xmlns:a="http://schemas.openxmlformats.org/drawingml/2006/main" xmlns:r="http://schemas.openxmlformats.org/officeDocument/2006/relationships" xmlns:p="http://schemas.openxmlformats.org/presentationml/2006/main">
  <p:tag name="NUM" val="1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9"/>
</p:tagLst>
</file>

<file path=ppt/tags/tag21.xml><?xml version="1.0" encoding="utf-8"?>
<p:tagLst xmlns:a="http://schemas.openxmlformats.org/drawingml/2006/main" xmlns:r="http://schemas.openxmlformats.org/officeDocument/2006/relationships" xmlns:p="http://schemas.openxmlformats.org/presentationml/2006/main">
  <p:tag name="NUM" val="20"/>
</p:tagLst>
</file>

<file path=ppt/tags/tag22.xml><?xml version="1.0" encoding="utf-8"?>
<p:tagLst xmlns:a="http://schemas.openxmlformats.org/drawingml/2006/main" xmlns:r="http://schemas.openxmlformats.org/officeDocument/2006/relationships" xmlns:p="http://schemas.openxmlformats.org/presentationml/2006/main">
  <p:tag name="NUM" val="21"/>
</p:tagLst>
</file>

<file path=ppt/tags/tag23.xml><?xml version="1.0" encoding="utf-8"?>
<p:tagLst xmlns:a="http://schemas.openxmlformats.org/drawingml/2006/main" xmlns:r="http://schemas.openxmlformats.org/officeDocument/2006/relationships" xmlns:p="http://schemas.openxmlformats.org/presentationml/2006/main">
  <p:tag name="NUM" val="24"/>
</p:tagLst>
</file>

<file path=ppt/tags/tag24.xml><?xml version="1.0" encoding="utf-8"?>
<p:tagLst xmlns:a="http://schemas.openxmlformats.org/drawingml/2006/main" xmlns:r="http://schemas.openxmlformats.org/officeDocument/2006/relationships" xmlns:p="http://schemas.openxmlformats.org/presentationml/2006/main">
  <p:tag name="NUM" val="26"/>
</p:tagLst>
</file>

<file path=ppt/tags/tag25.xml><?xml version="1.0" encoding="utf-8"?>
<p:tagLst xmlns:a="http://schemas.openxmlformats.org/drawingml/2006/main" xmlns:r="http://schemas.openxmlformats.org/officeDocument/2006/relationships" xmlns:p="http://schemas.openxmlformats.org/presentationml/2006/main">
  <p:tag name="NUM" val="27"/>
</p:tagLst>
</file>

<file path=ppt/tags/tag26.xml><?xml version="1.0" encoding="utf-8"?>
<p:tagLst xmlns:a="http://schemas.openxmlformats.org/drawingml/2006/main" xmlns:r="http://schemas.openxmlformats.org/officeDocument/2006/relationships" xmlns:p="http://schemas.openxmlformats.org/presentationml/2006/main">
  <p:tag name="NUM" val="28"/>
</p:tagLst>
</file>

<file path=ppt/tags/tag27.xml><?xml version="1.0" encoding="utf-8"?>
<p:tagLst xmlns:a="http://schemas.openxmlformats.org/drawingml/2006/main" xmlns:r="http://schemas.openxmlformats.org/officeDocument/2006/relationships" xmlns:p="http://schemas.openxmlformats.org/presentationml/2006/main">
  <p:tag name="NUM" val="29"/>
</p:tagLst>
</file>

<file path=ppt/tags/tag28.xml><?xml version="1.0" encoding="utf-8"?>
<p:tagLst xmlns:a="http://schemas.openxmlformats.org/drawingml/2006/main" xmlns:r="http://schemas.openxmlformats.org/officeDocument/2006/relationships" xmlns:p="http://schemas.openxmlformats.org/presentationml/2006/main">
  <p:tag name="NUM" val="29"/>
</p:tagLst>
</file>

<file path=ppt/tags/tag3.xml><?xml version="1.0" encoding="utf-8"?>
<p:tagLst xmlns:a="http://schemas.openxmlformats.org/drawingml/2006/main" xmlns:r="http://schemas.openxmlformats.org/officeDocument/2006/relationships" xmlns:p="http://schemas.openxmlformats.org/presentationml/2006/main">
  <p:tag name="NUM" val="29"/>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NUM" val="6"/>
</p:tagLst>
</file>

<file path=ppt/tags/tag8.xml><?xml version="1.0" encoding="utf-8"?>
<p:tagLst xmlns:a="http://schemas.openxmlformats.org/drawingml/2006/main" xmlns:r="http://schemas.openxmlformats.org/officeDocument/2006/relationships" xmlns:p="http://schemas.openxmlformats.org/presentationml/2006/main">
  <p:tag name="NUM" val="7"/>
</p:tagLst>
</file>

<file path=ppt/tags/tag9.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52</TotalTime>
  <Words>952</Words>
  <Application>Microsoft Office PowerPoint</Application>
  <PresentationFormat>Widescreen</PresentationFormat>
  <Paragraphs>142</Paragraphs>
  <Slides>14</Slides>
  <Notes>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Calibri Light</vt:lpstr>
      <vt:lpstr>Open Sans</vt:lpstr>
      <vt:lpstr>Open Sans Light</vt:lpstr>
      <vt:lpstr>Open Sans SemiBold</vt:lpstr>
      <vt:lpstr>Open Sans SemiBold</vt:lpstr>
      <vt:lpstr>Verdana</vt:lpstr>
      <vt:lpstr>Wingdings 2</vt:lpstr>
      <vt:lpstr>Office Theme</vt:lpstr>
      <vt:lpstr>5_Deloitte_US_Onscreen</vt:lpstr>
      <vt:lpstr>think-cell Slide</vt:lpstr>
      <vt:lpstr>Fishing Out Phishing Websites</vt:lpstr>
      <vt:lpstr>Agenda</vt:lpstr>
      <vt:lpstr>Project Motivation</vt:lpstr>
      <vt:lpstr>Modelling Approach</vt:lpstr>
      <vt:lpstr>Data Understanding</vt:lpstr>
      <vt:lpstr>Data Understanding</vt:lpstr>
      <vt:lpstr>Data Understanding</vt:lpstr>
      <vt:lpstr>Model Evaluation and Recommendation</vt:lpstr>
      <vt:lpstr>Model Evaluation and Recommendation</vt:lpstr>
      <vt:lpstr>Proposed Improvements/Expansion</vt:lpstr>
      <vt:lpstr>Questions</vt:lpstr>
      <vt:lpstr>Data Understanding</vt:lpstr>
      <vt:lpstr>Features Selected</vt:lpstr>
      <vt:lpstr>Work Consulted and 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gundairo, Sunmisola</dc:creator>
  <cp:lastModifiedBy>Ogundairo, Sunmisola</cp:lastModifiedBy>
  <cp:revision>1</cp:revision>
  <dcterms:created xsi:type="dcterms:W3CDTF">2023-03-27T13:45:32Z</dcterms:created>
  <dcterms:modified xsi:type="dcterms:W3CDTF">2023-04-05T22: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7T13:45:3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b2e7872-d55c-4ad5-be92-4034cff1e1cf</vt:lpwstr>
  </property>
  <property fmtid="{D5CDD505-2E9C-101B-9397-08002B2CF9AE}" pid="8" name="MSIP_Label_ea60d57e-af5b-4752-ac57-3e4f28ca11dc_ContentBits">
    <vt:lpwstr>0</vt:lpwstr>
  </property>
</Properties>
</file>